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3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4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.xml" ContentType="application/vnd.openxmlformats-officedocument.themeOverr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2.xml" ContentType="application/vnd.openxmlformats-officedocument.themeOverr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3.xml" ContentType="application/vnd.openxmlformats-officedocument.themeOverr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4.xml" ContentType="application/vnd.openxmlformats-officedocument.themeOverr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notesSlides/notesSlide5.xml" ContentType="application/vnd.openxmlformats-officedocument.presentationml.notesSlid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heme/themeOverride5.xml" ContentType="application/vnd.openxmlformats-officedocument.themeOverrid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theme/themeOverride6.xml" ContentType="application/vnd.openxmlformats-officedocument.themeOverrid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heme/themeOverride7.xml" ContentType="application/vnd.openxmlformats-officedocument.themeOverrid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theme/themeOverride8.xml" ContentType="application/vnd.openxmlformats-officedocument.themeOverride+xml"/>
  <Override PartName="/ppt/notesSlides/notesSlide6.xml" ContentType="application/vnd.openxmlformats-officedocument.presentationml.notesSlid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theme/themeOverride9.xml" ContentType="application/vnd.openxmlformats-officedocument.themeOverrid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theme/themeOverride10.xml" ContentType="application/vnd.openxmlformats-officedocument.themeOverrid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heme/themeOverride11.xml" ContentType="application/vnd.openxmlformats-officedocument.themeOverrid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theme/themeOverride12.xml" ContentType="application/vnd.openxmlformats-officedocument.themeOverride+xml"/>
  <Override PartName="/ppt/notesSlides/notesSlide7.xml" ContentType="application/vnd.openxmlformats-officedocument.presentationml.notesSlid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theme/themeOverride13.xml" ContentType="application/vnd.openxmlformats-officedocument.themeOverrid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theme/themeOverride14.xml" ContentType="application/vnd.openxmlformats-officedocument.themeOverrid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theme/themeOverride15.xml" ContentType="application/vnd.openxmlformats-officedocument.themeOverrid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theme/themeOverride16.xml" ContentType="application/vnd.openxmlformats-officedocument.themeOverrid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4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drawings/drawing2.xml" ContentType="application/vnd.openxmlformats-officedocument.drawingml.chartshapes+xml"/>
  <Override PartName="/ppt/charts/chart43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drawings/drawing3.xml" ContentType="application/vnd.openxmlformats-officedocument.drawingml.chartshapes+xml"/>
  <Override PartName="/ppt/charts/chart44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charts/chart45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drawings/drawing4.xml" ContentType="application/vnd.openxmlformats-officedocument.drawingml.chartshapes+xml"/>
  <Override PartName="/ppt/charts/chart46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drawings/drawing5.xml" ContentType="application/vnd.openxmlformats-officedocument.drawingml.chartshapes+xml"/>
  <Override PartName="/ppt/charts/chart47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charts/chart48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charts/chart49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drawings/drawing6.xml" ContentType="application/vnd.openxmlformats-officedocument.drawingml.chartshapes+xml"/>
  <Override PartName="/ppt/charts/chart50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drawings/drawing7.xml" ContentType="application/vnd.openxmlformats-officedocument.drawingml.chartshapes+xml"/>
  <Override PartName="/ppt/charts/chart51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notesSlides/notesSlide8.xml" ContentType="application/vnd.openxmlformats-officedocument.presentationml.notesSlide+xml"/>
  <Override PartName="/ppt/charts/chart52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theme/themeOverride17.xml" ContentType="application/vnd.openxmlformats-officedocument.themeOverride+xml"/>
  <Override PartName="/ppt/charts/chart53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theme/themeOverride18.xml" ContentType="application/vnd.openxmlformats-officedocument.themeOverride+xml"/>
  <Override PartName="/ppt/charts/chart54.xml" ContentType="application/vnd.openxmlformats-officedocument.drawingml.chart+xml"/>
  <Override PartName="/ppt/charts/style54.xml" ContentType="application/vnd.ms-office.chartstyle+xml"/>
  <Override PartName="/ppt/charts/colors54.xml" ContentType="application/vnd.ms-office.chartcolorstyle+xml"/>
  <Override PartName="/ppt/theme/themeOverride19.xml" ContentType="application/vnd.openxmlformats-officedocument.themeOverride+xml"/>
  <Override PartName="/ppt/charts/chart55.xml" ContentType="application/vnd.openxmlformats-officedocument.drawingml.chart+xml"/>
  <Override PartName="/ppt/charts/style55.xml" ContentType="application/vnd.ms-office.chartstyle+xml"/>
  <Override PartName="/ppt/charts/colors55.xml" ContentType="application/vnd.ms-office.chartcolorstyle+xml"/>
  <Override PartName="/ppt/theme/themeOverride20.xml" ContentType="application/vnd.openxmlformats-officedocument.themeOverride+xml"/>
  <Override PartName="/ppt/notesSlides/notesSlide9.xml" ContentType="application/vnd.openxmlformats-officedocument.presentationml.notesSlide+xml"/>
  <Override PartName="/ppt/charts/chart56.xml" ContentType="application/vnd.openxmlformats-officedocument.drawingml.chart+xml"/>
  <Override PartName="/ppt/charts/style56.xml" ContentType="application/vnd.ms-office.chartstyle+xml"/>
  <Override PartName="/ppt/charts/colors56.xml" ContentType="application/vnd.ms-office.chartcolorstyle+xml"/>
  <Override PartName="/ppt/theme/themeOverride21.xml" ContentType="application/vnd.openxmlformats-officedocument.themeOverride+xml"/>
  <Override PartName="/ppt/charts/chart57.xml" ContentType="application/vnd.openxmlformats-officedocument.drawingml.chart+xml"/>
  <Override PartName="/ppt/charts/style57.xml" ContentType="application/vnd.ms-office.chartstyle+xml"/>
  <Override PartName="/ppt/charts/colors57.xml" ContentType="application/vnd.ms-office.chartcolorstyle+xml"/>
  <Override PartName="/ppt/theme/themeOverride22.xml" ContentType="application/vnd.openxmlformats-officedocument.themeOverride+xml"/>
  <Override PartName="/ppt/charts/chart58.xml" ContentType="application/vnd.openxmlformats-officedocument.drawingml.chart+xml"/>
  <Override PartName="/ppt/charts/style58.xml" ContentType="application/vnd.ms-office.chartstyle+xml"/>
  <Override PartName="/ppt/charts/colors58.xml" ContentType="application/vnd.ms-office.chartcolorstyle+xml"/>
  <Override PartName="/ppt/theme/themeOverride23.xml" ContentType="application/vnd.openxmlformats-officedocument.themeOverride+xml"/>
  <Override PartName="/ppt/charts/chart59.xml" ContentType="application/vnd.openxmlformats-officedocument.drawingml.chart+xml"/>
  <Override PartName="/ppt/charts/style59.xml" ContentType="application/vnd.ms-office.chartstyle+xml"/>
  <Override PartName="/ppt/charts/colors59.xml" ContentType="application/vnd.ms-office.chartcolorstyle+xml"/>
  <Override PartName="/ppt/theme/themeOverride24.xml" ContentType="application/vnd.openxmlformats-officedocument.themeOverride+xml"/>
  <Override PartName="/ppt/notesSlides/notesSlide10.xml" ContentType="application/vnd.openxmlformats-officedocument.presentationml.notesSlide+xml"/>
  <Override PartName="/ppt/charts/chart60.xml" ContentType="application/vnd.openxmlformats-officedocument.drawingml.chart+xml"/>
  <Override PartName="/ppt/charts/style60.xml" ContentType="application/vnd.ms-office.chartstyle+xml"/>
  <Override PartName="/ppt/charts/colors60.xml" ContentType="application/vnd.ms-office.chartcolorstyle+xml"/>
  <Override PartName="/ppt/theme/themeOverride25.xml" ContentType="application/vnd.openxmlformats-officedocument.themeOverride+xml"/>
  <Override PartName="/ppt/charts/chart61.xml" ContentType="application/vnd.openxmlformats-officedocument.drawingml.chart+xml"/>
  <Override PartName="/ppt/charts/style61.xml" ContentType="application/vnd.ms-office.chartstyle+xml"/>
  <Override PartName="/ppt/charts/colors61.xml" ContentType="application/vnd.ms-office.chartcolorstyle+xml"/>
  <Override PartName="/ppt/theme/themeOverride26.xml" ContentType="application/vnd.openxmlformats-officedocument.themeOverride+xml"/>
  <Override PartName="/ppt/charts/chart62.xml" ContentType="application/vnd.openxmlformats-officedocument.drawingml.chart+xml"/>
  <Override PartName="/ppt/charts/style62.xml" ContentType="application/vnd.ms-office.chartstyle+xml"/>
  <Override PartName="/ppt/charts/colors62.xml" ContentType="application/vnd.ms-office.chartcolorstyle+xml"/>
  <Override PartName="/ppt/theme/themeOverride27.xml" ContentType="application/vnd.openxmlformats-officedocument.themeOverride+xml"/>
  <Override PartName="/ppt/charts/chart63.xml" ContentType="application/vnd.openxmlformats-officedocument.drawingml.chart+xml"/>
  <Override PartName="/ppt/charts/style63.xml" ContentType="application/vnd.ms-office.chartstyle+xml"/>
  <Override PartName="/ppt/charts/colors63.xml" ContentType="application/vnd.ms-office.chartcolorstyle+xml"/>
  <Override PartName="/ppt/theme/themeOverride28.xml" ContentType="application/vnd.openxmlformats-officedocument.themeOverride+xml"/>
  <Override PartName="/ppt/charts/chart64.xml" ContentType="application/vnd.openxmlformats-officedocument.drawingml.chart+xml"/>
  <Override PartName="/ppt/charts/style64.xml" ContentType="application/vnd.ms-office.chartstyle+xml"/>
  <Override PartName="/ppt/charts/colors64.xml" ContentType="application/vnd.ms-office.chartcolorstyle+xml"/>
  <Override PartName="/ppt/charts/chart65.xml" ContentType="application/vnd.openxmlformats-officedocument.drawingml.chart+xml"/>
  <Override PartName="/ppt/charts/style65.xml" ContentType="application/vnd.ms-office.chartstyle+xml"/>
  <Override PartName="/ppt/charts/colors65.xml" ContentType="application/vnd.ms-office.chartcolorstyle+xml"/>
  <Override PartName="/ppt/charts/chart66.xml" ContentType="application/vnd.openxmlformats-officedocument.drawingml.chart+xml"/>
  <Override PartName="/ppt/charts/style66.xml" ContentType="application/vnd.ms-office.chartstyle+xml"/>
  <Override PartName="/ppt/charts/colors66.xml" ContentType="application/vnd.ms-office.chartcolorstyle+xml"/>
  <Override PartName="/ppt/charts/chart67.xml" ContentType="application/vnd.openxmlformats-officedocument.drawingml.chart+xml"/>
  <Override PartName="/ppt/charts/style67.xml" ContentType="application/vnd.ms-office.chartstyle+xml"/>
  <Override PartName="/ppt/charts/colors67.xml" ContentType="application/vnd.ms-office.chartcolorstyle+xml"/>
  <Override PartName="/ppt/charts/chart68.xml" ContentType="application/vnd.openxmlformats-officedocument.drawingml.chart+xml"/>
  <Override PartName="/ppt/charts/style68.xml" ContentType="application/vnd.ms-office.chartstyle+xml"/>
  <Override PartName="/ppt/charts/colors68.xml" ContentType="application/vnd.ms-office.chartcolorstyle+xml"/>
  <Override PartName="/ppt/drawings/drawing8.xml" ContentType="application/vnd.openxmlformats-officedocument.drawingml.chartshapes+xml"/>
  <Override PartName="/ppt/charts/chart69.xml" ContentType="application/vnd.openxmlformats-officedocument.drawingml.chart+xml"/>
  <Override PartName="/ppt/charts/style69.xml" ContentType="application/vnd.ms-office.chartstyle+xml"/>
  <Override PartName="/ppt/charts/colors69.xml" ContentType="application/vnd.ms-office.chartcolorstyle+xml"/>
  <Override PartName="/ppt/charts/chart70.xml" ContentType="application/vnd.openxmlformats-officedocument.drawingml.chart+xml"/>
  <Override PartName="/ppt/charts/style70.xml" ContentType="application/vnd.ms-office.chartstyle+xml"/>
  <Override PartName="/ppt/charts/colors70.xml" ContentType="application/vnd.ms-office.chartcolorstyle+xml"/>
  <Override PartName="/ppt/charts/chart71.xml" ContentType="application/vnd.openxmlformats-officedocument.drawingml.chart+xml"/>
  <Override PartName="/ppt/charts/style71.xml" ContentType="application/vnd.ms-office.chartstyle+xml"/>
  <Override PartName="/ppt/charts/colors71.xml" ContentType="application/vnd.ms-office.chartcolorstyle+xml"/>
  <Override PartName="/ppt/drawings/drawing9.xml" ContentType="application/vnd.openxmlformats-officedocument.drawingml.chartshapes+xml"/>
  <Override PartName="/ppt/charts/chart72.xml" ContentType="application/vnd.openxmlformats-officedocument.drawingml.chart+xml"/>
  <Override PartName="/ppt/charts/style72.xml" ContentType="application/vnd.ms-office.chartstyle+xml"/>
  <Override PartName="/ppt/charts/colors72.xml" ContentType="application/vnd.ms-office.chartcolorstyle+xml"/>
  <Override PartName="/ppt/drawings/drawing10.xml" ContentType="application/vnd.openxmlformats-officedocument.drawingml.chartshapes+xml"/>
  <Override PartName="/ppt/charts/chart73.xml" ContentType="application/vnd.openxmlformats-officedocument.drawingml.chart+xml"/>
  <Override PartName="/ppt/charts/style73.xml" ContentType="application/vnd.ms-office.chartstyle+xml"/>
  <Override PartName="/ppt/charts/colors73.xml" ContentType="application/vnd.ms-office.chartcolorstyle+xml"/>
  <Override PartName="/ppt/charts/chart74.xml" ContentType="application/vnd.openxmlformats-officedocument.drawingml.chart+xml"/>
  <Override PartName="/ppt/charts/style74.xml" ContentType="application/vnd.ms-office.chartstyle+xml"/>
  <Override PartName="/ppt/charts/colors74.xml" ContentType="application/vnd.ms-office.chartcolorstyle+xml"/>
  <Override PartName="/ppt/charts/chart75.xml" ContentType="application/vnd.openxmlformats-officedocument.drawingml.chart+xml"/>
  <Override PartName="/ppt/charts/style75.xml" ContentType="application/vnd.ms-office.chartstyle+xml"/>
  <Override PartName="/ppt/charts/colors75.xml" ContentType="application/vnd.ms-office.chartcolorstyle+xml"/>
  <Override PartName="/ppt/drawings/drawing11.xml" ContentType="application/vnd.openxmlformats-officedocument.drawingml.chartshapes+xml"/>
  <Override PartName="/ppt/notesSlides/notesSlide11.xml" ContentType="application/vnd.openxmlformats-officedocument.presentationml.notesSlide+xml"/>
  <Override PartName="/ppt/charts/chart76.xml" ContentType="application/vnd.openxmlformats-officedocument.drawingml.chart+xml"/>
  <Override PartName="/ppt/charts/style76.xml" ContentType="application/vnd.ms-office.chartstyle+xml"/>
  <Override PartName="/ppt/charts/colors76.xml" ContentType="application/vnd.ms-office.chartcolorstyle+xml"/>
  <Override PartName="/ppt/theme/themeOverride29.xml" ContentType="application/vnd.openxmlformats-officedocument.themeOverride+xml"/>
  <Override PartName="/ppt/charts/chart77.xml" ContentType="application/vnd.openxmlformats-officedocument.drawingml.chart+xml"/>
  <Override PartName="/ppt/charts/style77.xml" ContentType="application/vnd.ms-office.chartstyle+xml"/>
  <Override PartName="/ppt/charts/colors77.xml" ContentType="application/vnd.ms-office.chartcolorstyle+xml"/>
  <Override PartName="/ppt/charts/chart78.xml" ContentType="application/vnd.openxmlformats-officedocument.drawingml.chart+xml"/>
  <Override PartName="/ppt/charts/style78.xml" ContentType="application/vnd.ms-office.chartstyle+xml"/>
  <Override PartName="/ppt/charts/colors78.xml" ContentType="application/vnd.ms-office.chartcolorstyle+xml"/>
  <Override PartName="/ppt/charts/chart79.xml" ContentType="application/vnd.openxmlformats-officedocument.drawingml.chart+xml"/>
  <Override PartName="/ppt/charts/style79.xml" ContentType="application/vnd.ms-office.chartstyle+xml"/>
  <Override PartName="/ppt/charts/colors79.xml" ContentType="application/vnd.ms-office.chartcolorstyle+xml"/>
  <Override PartName="/ppt/charts/chart80.xml" ContentType="application/vnd.openxmlformats-officedocument.drawingml.chart+xml"/>
  <Override PartName="/ppt/charts/style80.xml" ContentType="application/vnd.ms-office.chartstyle+xml"/>
  <Override PartName="/ppt/charts/colors80.xml" ContentType="application/vnd.ms-office.chartcolorstyle+xml"/>
  <Override PartName="/ppt/charts/chart81.xml" ContentType="application/vnd.openxmlformats-officedocument.drawingml.chart+xml"/>
  <Override PartName="/ppt/charts/style81.xml" ContentType="application/vnd.ms-office.chartstyle+xml"/>
  <Override PartName="/ppt/charts/colors81.xml" ContentType="application/vnd.ms-office.chartcolorstyle+xml"/>
  <Override PartName="/ppt/charts/chart82.xml" ContentType="application/vnd.openxmlformats-officedocument.drawingml.chart+xml"/>
  <Override PartName="/ppt/charts/style82.xml" ContentType="application/vnd.ms-office.chartstyle+xml"/>
  <Override PartName="/ppt/charts/colors82.xml" ContentType="application/vnd.ms-office.chartcolorstyle+xml"/>
  <Override PartName="/ppt/notesSlides/notesSlide12.xml" ContentType="application/vnd.openxmlformats-officedocument.presentationml.notesSlide+xml"/>
  <Override PartName="/ppt/charts/chart83.xml" ContentType="application/vnd.openxmlformats-officedocument.drawingml.chart+xml"/>
  <Override PartName="/ppt/charts/style83.xml" ContentType="application/vnd.ms-office.chartstyle+xml"/>
  <Override PartName="/ppt/charts/colors83.xml" ContentType="application/vnd.ms-office.chartcolorstyle+xml"/>
  <Override PartName="/ppt/theme/themeOverride30.xml" ContentType="application/vnd.openxmlformats-officedocument.themeOverride+xml"/>
  <Override PartName="/ppt/charts/chart84.xml" ContentType="application/vnd.openxmlformats-officedocument.drawingml.chart+xml"/>
  <Override PartName="/ppt/charts/style84.xml" ContentType="application/vnd.ms-office.chartstyle+xml"/>
  <Override PartName="/ppt/charts/colors84.xml" ContentType="application/vnd.ms-office.chartcolorstyle+xml"/>
  <Override PartName="/ppt/theme/themeOverride31.xml" ContentType="application/vnd.openxmlformats-officedocument.themeOverride+xml"/>
  <Override PartName="/ppt/notesSlides/notesSlide13.xml" ContentType="application/vnd.openxmlformats-officedocument.presentationml.notesSlide+xml"/>
  <Override PartName="/ppt/charts/chart85.xml" ContentType="application/vnd.openxmlformats-officedocument.drawingml.chart+xml"/>
  <Override PartName="/ppt/charts/style85.xml" ContentType="application/vnd.ms-office.chartstyle+xml"/>
  <Override PartName="/ppt/charts/colors85.xml" ContentType="application/vnd.ms-office.chartcolorstyle+xml"/>
  <Override PartName="/ppt/charts/chart86.xml" ContentType="application/vnd.openxmlformats-officedocument.drawingml.chart+xml"/>
  <Override PartName="/ppt/charts/style86.xml" ContentType="application/vnd.ms-office.chartstyle+xml"/>
  <Override PartName="/ppt/charts/colors86.xml" ContentType="application/vnd.ms-office.chartcolorstyle+xml"/>
  <Override PartName="/ppt/charts/chart87.xml" ContentType="application/vnd.openxmlformats-officedocument.drawingml.chart+xml"/>
  <Override PartName="/ppt/charts/style87.xml" ContentType="application/vnd.ms-office.chartstyle+xml"/>
  <Override PartName="/ppt/charts/colors87.xml" ContentType="application/vnd.ms-office.chartcolorstyle+xml"/>
  <Override PartName="/ppt/charts/chart88.xml" ContentType="application/vnd.openxmlformats-officedocument.drawingml.chart+xml"/>
  <Override PartName="/ppt/charts/style88.xml" ContentType="application/vnd.ms-office.chartstyle+xml"/>
  <Override PartName="/ppt/charts/colors88.xml" ContentType="application/vnd.ms-office.chartcolorstyle+xml"/>
  <Override PartName="/ppt/charts/chart89.xml" ContentType="application/vnd.openxmlformats-officedocument.drawingml.chart+xml"/>
  <Override PartName="/ppt/charts/style89.xml" ContentType="application/vnd.ms-office.chartstyle+xml"/>
  <Override PartName="/ppt/charts/colors89.xml" ContentType="application/vnd.ms-office.chartcolorstyle+xml"/>
  <Override PartName="/ppt/charts/chart90.xml" ContentType="application/vnd.openxmlformats-officedocument.drawingml.chart+xml"/>
  <Override PartName="/ppt/charts/style90.xml" ContentType="application/vnd.ms-office.chartstyle+xml"/>
  <Override PartName="/ppt/charts/colors90.xml" ContentType="application/vnd.ms-office.chartcolorstyle+xml"/>
  <Override PartName="/ppt/charts/chart91.xml" ContentType="application/vnd.openxmlformats-officedocument.drawingml.chart+xml"/>
  <Override PartName="/ppt/charts/style91.xml" ContentType="application/vnd.ms-office.chartstyle+xml"/>
  <Override PartName="/ppt/charts/colors91.xml" ContentType="application/vnd.ms-office.chartcolorstyle+xml"/>
  <Override PartName="/ppt/charts/chart92.xml" ContentType="application/vnd.openxmlformats-officedocument.drawingml.chart+xml"/>
  <Override PartName="/ppt/charts/style92.xml" ContentType="application/vnd.ms-office.chartstyle+xml"/>
  <Override PartName="/ppt/charts/colors92.xml" ContentType="application/vnd.ms-office.chartcolorstyle+xml"/>
  <Override PartName="/ppt/notesSlides/notesSlide14.xml" ContentType="application/vnd.openxmlformats-officedocument.presentationml.notesSlide+xml"/>
  <Override PartName="/ppt/charts/chart93.xml" ContentType="application/vnd.openxmlformats-officedocument.drawingml.chart+xml"/>
  <Override PartName="/ppt/charts/style93.xml" ContentType="application/vnd.ms-office.chartstyle+xml"/>
  <Override PartName="/ppt/charts/colors93.xml" ContentType="application/vnd.ms-office.chartcolorstyle+xml"/>
  <Override PartName="/ppt/charts/chart94.xml" ContentType="application/vnd.openxmlformats-officedocument.drawingml.chart+xml"/>
  <Override PartName="/ppt/charts/style94.xml" ContentType="application/vnd.ms-office.chartstyle+xml"/>
  <Override PartName="/ppt/charts/colors94.xml" ContentType="application/vnd.ms-office.chartcolorstyle+xml"/>
  <Override PartName="/ppt/charts/chart95.xml" ContentType="application/vnd.openxmlformats-officedocument.drawingml.chart+xml"/>
  <Override PartName="/ppt/charts/style95.xml" ContentType="application/vnd.ms-office.chartstyle+xml"/>
  <Override PartName="/ppt/charts/colors95.xml" ContentType="application/vnd.ms-office.chartcolorstyle+xml"/>
  <Override PartName="/ppt/charts/chart96.xml" ContentType="application/vnd.openxmlformats-officedocument.drawingml.chart+xml"/>
  <Override PartName="/ppt/charts/style96.xml" ContentType="application/vnd.ms-office.chartstyle+xml"/>
  <Override PartName="/ppt/charts/colors96.xml" ContentType="application/vnd.ms-office.chartcolorstyle+xml"/>
  <Override PartName="/ppt/charts/chart97.xml" ContentType="application/vnd.openxmlformats-officedocument.drawingml.chart+xml"/>
  <Override PartName="/ppt/charts/style97.xml" ContentType="application/vnd.ms-office.chartstyle+xml"/>
  <Override PartName="/ppt/charts/colors97.xml" ContentType="application/vnd.ms-office.chartcolorstyle+xml"/>
  <Override PartName="/ppt/charts/chart98.xml" ContentType="application/vnd.openxmlformats-officedocument.drawingml.chart+xml"/>
  <Override PartName="/ppt/charts/style98.xml" ContentType="application/vnd.ms-office.chartstyle+xml"/>
  <Override PartName="/ppt/charts/colors98.xml" ContentType="application/vnd.ms-office.chartcolorstyle+xml"/>
  <Override PartName="/ppt/charts/chart99.xml" ContentType="application/vnd.openxmlformats-officedocument.drawingml.chart+xml"/>
  <Override PartName="/ppt/charts/style99.xml" ContentType="application/vnd.ms-office.chartstyle+xml"/>
  <Override PartName="/ppt/charts/colors99.xml" ContentType="application/vnd.ms-office.chartcolorstyle+xml"/>
  <Override PartName="/ppt/charts/chart100.xml" ContentType="application/vnd.openxmlformats-officedocument.drawingml.chart+xml"/>
  <Override PartName="/ppt/charts/style100.xml" ContentType="application/vnd.ms-office.chartstyle+xml"/>
  <Override PartName="/ppt/charts/colors100.xml" ContentType="application/vnd.ms-office.chartcolorstyle+xml"/>
  <Override PartName="/ppt/charts/chart101.xml" ContentType="application/vnd.openxmlformats-officedocument.drawingml.chart+xml"/>
  <Override PartName="/ppt/charts/style101.xml" ContentType="application/vnd.ms-office.chartstyle+xml"/>
  <Override PartName="/ppt/charts/colors101.xml" ContentType="application/vnd.ms-office.chartcolorstyle+xml"/>
  <Override PartName="/ppt/notesSlides/notesSlide15.xml" ContentType="application/vnd.openxmlformats-officedocument.presentationml.notesSlide+xml"/>
  <Override PartName="/ppt/charts/chart102.xml" ContentType="application/vnd.openxmlformats-officedocument.drawingml.chart+xml"/>
  <Override PartName="/ppt/charts/style102.xml" ContentType="application/vnd.ms-office.chartstyle+xml"/>
  <Override PartName="/ppt/charts/colors102.xml" ContentType="application/vnd.ms-office.chartcolorstyle+xml"/>
  <Override PartName="/ppt/charts/chart103.xml" ContentType="application/vnd.openxmlformats-officedocument.drawingml.chart+xml"/>
  <Override PartName="/ppt/charts/style103.xml" ContentType="application/vnd.ms-office.chartstyle+xml"/>
  <Override PartName="/ppt/charts/colors103.xml" ContentType="application/vnd.ms-office.chartcolorstyle+xml"/>
  <Override PartName="/ppt/charts/chart104.xml" ContentType="application/vnd.openxmlformats-officedocument.drawingml.chart+xml"/>
  <Override PartName="/ppt/charts/style104.xml" ContentType="application/vnd.ms-office.chartstyle+xml"/>
  <Override PartName="/ppt/charts/colors104.xml" ContentType="application/vnd.ms-office.chartcolorstyle+xml"/>
  <Override PartName="/ppt/charts/chart105.xml" ContentType="application/vnd.openxmlformats-officedocument.drawingml.chart+xml"/>
  <Override PartName="/ppt/charts/style105.xml" ContentType="application/vnd.ms-office.chartstyle+xml"/>
  <Override PartName="/ppt/charts/colors105.xml" ContentType="application/vnd.ms-office.chartcolorstyle+xml"/>
  <Override PartName="/ppt/charts/chart106.xml" ContentType="application/vnd.openxmlformats-officedocument.drawingml.chart+xml"/>
  <Override PartName="/ppt/charts/style106.xml" ContentType="application/vnd.ms-office.chartstyle+xml"/>
  <Override PartName="/ppt/charts/colors106.xml" ContentType="application/vnd.ms-office.chartcolorstyle+xml"/>
  <Override PartName="/ppt/charts/chart107.xml" ContentType="application/vnd.openxmlformats-officedocument.drawingml.chart+xml"/>
  <Override PartName="/ppt/charts/style107.xml" ContentType="application/vnd.ms-office.chartstyle+xml"/>
  <Override PartName="/ppt/charts/colors107.xml" ContentType="application/vnd.ms-office.chartcolorstyle+xml"/>
  <Override PartName="/ppt/charts/chart108.xml" ContentType="application/vnd.openxmlformats-officedocument.drawingml.chart+xml"/>
  <Override PartName="/ppt/charts/style108.xml" ContentType="application/vnd.ms-office.chartstyle+xml"/>
  <Override PartName="/ppt/charts/colors108.xml" ContentType="application/vnd.ms-office.chartcolorstyle+xml"/>
  <Override PartName="/ppt/charts/chart109.xml" ContentType="application/vnd.openxmlformats-officedocument.drawingml.chart+xml"/>
  <Override PartName="/ppt/charts/style109.xml" ContentType="application/vnd.ms-office.chartstyle+xml"/>
  <Override PartName="/ppt/charts/colors109.xml" ContentType="application/vnd.ms-office.chartcolorstyle+xml"/>
  <Override PartName="/ppt/notesSlides/notesSlide16.xml" ContentType="application/vnd.openxmlformats-officedocument.presentationml.notesSlide+xml"/>
  <Override PartName="/ppt/charts/chart110.xml" ContentType="application/vnd.openxmlformats-officedocument.drawingml.chart+xml"/>
  <Override PartName="/ppt/charts/style110.xml" ContentType="application/vnd.ms-office.chartstyle+xml"/>
  <Override PartName="/ppt/charts/colors110.xml" ContentType="application/vnd.ms-office.chartcolorstyle+xml"/>
  <Override PartName="/ppt/charts/chart111.xml" ContentType="application/vnd.openxmlformats-officedocument.drawingml.chart+xml"/>
  <Override PartName="/ppt/charts/style111.xml" ContentType="application/vnd.ms-office.chartstyle+xml"/>
  <Override PartName="/ppt/charts/colors111.xml" ContentType="application/vnd.ms-office.chartcolorstyle+xml"/>
  <Override PartName="/ppt/charts/chart112.xml" ContentType="application/vnd.openxmlformats-officedocument.drawingml.chart+xml"/>
  <Override PartName="/ppt/charts/style112.xml" ContentType="application/vnd.ms-office.chartstyle+xml"/>
  <Override PartName="/ppt/charts/colors112.xml" ContentType="application/vnd.ms-office.chartcolorstyle+xml"/>
  <Override PartName="/ppt/charts/chart113.xml" ContentType="application/vnd.openxmlformats-officedocument.drawingml.chart+xml"/>
  <Override PartName="/ppt/charts/style113.xml" ContentType="application/vnd.ms-office.chartstyle+xml"/>
  <Override PartName="/ppt/charts/colors113.xml" ContentType="application/vnd.ms-office.chartcolorstyle+xml"/>
  <Override PartName="/ppt/charts/chart114.xml" ContentType="application/vnd.openxmlformats-officedocument.drawingml.chart+xml"/>
  <Override PartName="/ppt/charts/style114.xml" ContentType="application/vnd.ms-office.chartstyle+xml"/>
  <Override PartName="/ppt/charts/colors114.xml" ContentType="application/vnd.ms-office.chartcolorstyle+xml"/>
  <Override PartName="/ppt/charts/chart115.xml" ContentType="application/vnd.openxmlformats-officedocument.drawingml.chart+xml"/>
  <Override PartName="/ppt/charts/style115.xml" ContentType="application/vnd.ms-office.chartstyle+xml"/>
  <Override PartName="/ppt/charts/colors115.xml" ContentType="application/vnd.ms-office.chartcolorstyle+xml"/>
  <Override PartName="/ppt/charts/chart116.xml" ContentType="application/vnd.openxmlformats-officedocument.drawingml.chart+xml"/>
  <Override PartName="/ppt/charts/style116.xml" ContentType="application/vnd.ms-office.chartstyle+xml"/>
  <Override PartName="/ppt/charts/colors116.xml" ContentType="application/vnd.ms-office.chartcolorstyle+xml"/>
  <Override PartName="/ppt/charts/chart117.xml" ContentType="application/vnd.openxmlformats-officedocument.drawingml.chart+xml"/>
  <Override PartName="/ppt/charts/style117.xml" ContentType="application/vnd.ms-office.chartstyle+xml"/>
  <Override PartName="/ppt/charts/colors117.xml" ContentType="application/vnd.ms-office.chartcolorstyle+xml"/>
  <Override PartName="/ppt/charts/chart118.xml" ContentType="application/vnd.openxmlformats-officedocument.drawingml.chart+xml"/>
  <Override PartName="/ppt/charts/style118.xml" ContentType="application/vnd.ms-office.chartstyle+xml"/>
  <Override PartName="/ppt/charts/colors118.xml" ContentType="application/vnd.ms-office.chartcolorstyle+xml"/>
  <Override PartName="/ppt/notesSlides/notesSlide17.xml" ContentType="application/vnd.openxmlformats-officedocument.presentationml.notesSlide+xml"/>
  <Override PartName="/ppt/charts/chart119.xml" ContentType="application/vnd.openxmlformats-officedocument.drawingml.chart+xml"/>
  <Override PartName="/ppt/charts/style119.xml" ContentType="application/vnd.ms-office.chartstyle+xml"/>
  <Override PartName="/ppt/charts/colors119.xml" ContentType="application/vnd.ms-office.chartcolorstyle+xml"/>
  <Override PartName="/ppt/charts/chart120.xml" ContentType="application/vnd.openxmlformats-officedocument.drawingml.chart+xml"/>
  <Override PartName="/ppt/charts/style120.xml" ContentType="application/vnd.ms-office.chartstyle+xml"/>
  <Override PartName="/ppt/charts/colors120.xml" ContentType="application/vnd.ms-office.chartcolorstyle+xml"/>
  <Override PartName="/ppt/charts/chart121.xml" ContentType="application/vnd.openxmlformats-officedocument.drawingml.chart+xml"/>
  <Override PartName="/ppt/charts/style121.xml" ContentType="application/vnd.ms-office.chartstyle+xml"/>
  <Override PartName="/ppt/charts/colors121.xml" ContentType="application/vnd.ms-office.chartcolorstyle+xml"/>
  <Override PartName="/ppt/charts/chart122.xml" ContentType="application/vnd.openxmlformats-officedocument.drawingml.chart+xml"/>
  <Override PartName="/ppt/charts/style122.xml" ContentType="application/vnd.ms-office.chartstyle+xml"/>
  <Override PartName="/ppt/charts/colors122.xml" ContentType="application/vnd.ms-office.chartcolorstyle+xml"/>
  <Override PartName="/ppt/charts/chart123.xml" ContentType="application/vnd.openxmlformats-officedocument.drawingml.chart+xml"/>
  <Override PartName="/ppt/charts/style123.xml" ContentType="application/vnd.ms-office.chartstyle+xml"/>
  <Override PartName="/ppt/charts/colors123.xml" ContentType="application/vnd.ms-office.chartcolorstyle+xml"/>
  <Override PartName="/ppt/notesSlides/notesSlide1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93313" r:id="rId4"/>
  </p:sldMasterIdLst>
  <p:notesMasterIdLst>
    <p:notesMasterId r:id="rId44"/>
  </p:notesMasterIdLst>
  <p:handoutMasterIdLst>
    <p:handoutMasterId r:id="rId45"/>
  </p:handoutMasterIdLst>
  <p:sldIdLst>
    <p:sldId id="538" r:id="rId5"/>
    <p:sldId id="495" r:id="rId6"/>
    <p:sldId id="492" r:id="rId7"/>
    <p:sldId id="546" r:id="rId8"/>
    <p:sldId id="489" r:id="rId9"/>
    <p:sldId id="539" r:id="rId10"/>
    <p:sldId id="446" r:id="rId11"/>
    <p:sldId id="451" r:id="rId12"/>
    <p:sldId id="452" r:id="rId13"/>
    <p:sldId id="447" r:id="rId14"/>
    <p:sldId id="450" r:id="rId15"/>
    <p:sldId id="449" r:id="rId16"/>
    <p:sldId id="540" r:id="rId17"/>
    <p:sldId id="466" r:id="rId18"/>
    <p:sldId id="467" r:id="rId19"/>
    <p:sldId id="468" r:id="rId20"/>
    <p:sldId id="455" r:id="rId21"/>
    <p:sldId id="456" r:id="rId22"/>
    <p:sldId id="457" r:id="rId23"/>
    <p:sldId id="541" r:id="rId24"/>
    <p:sldId id="471" r:id="rId25"/>
    <p:sldId id="472" r:id="rId26"/>
    <p:sldId id="473" r:id="rId27"/>
    <p:sldId id="458" r:id="rId28"/>
    <p:sldId id="459" r:id="rId29"/>
    <p:sldId id="460" r:id="rId30"/>
    <p:sldId id="542" r:id="rId31"/>
    <p:sldId id="476" r:id="rId32"/>
    <p:sldId id="461" r:id="rId33"/>
    <p:sldId id="543" r:id="rId34"/>
    <p:sldId id="477" r:id="rId35"/>
    <p:sldId id="499" r:id="rId36"/>
    <p:sldId id="512" r:id="rId37"/>
    <p:sldId id="513" r:id="rId38"/>
    <p:sldId id="514" r:id="rId39"/>
    <p:sldId id="544" r:id="rId40"/>
    <p:sldId id="315" r:id="rId41"/>
    <p:sldId id="545" r:id="rId42"/>
    <p:sldId id="522" r:id="rId43"/>
  </p:sldIdLst>
  <p:sldSz cx="9144000" cy="5143500" type="screen16x9"/>
  <p:notesSz cx="6742113" cy="9872663"/>
  <p:custDataLst>
    <p:tags r:id="rId46"/>
  </p:custDataLst>
  <p:defaultTextStyle>
    <a:defPPr>
      <a:defRPr lang="en-US"/>
    </a:defPPr>
    <a:lvl1pPr marL="0" algn="l" defTabSz="9242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2140" algn="l" defTabSz="9242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24282" algn="l" defTabSz="9242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86422" algn="l" defTabSz="9242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48564" algn="l" defTabSz="9242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10704" algn="l" defTabSz="9242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72846" algn="l" defTabSz="9242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34986" algn="l" defTabSz="9242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97126" algn="l" defTabSz="9242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91" userDrawn="1">
          <p15:clr>
            <a:srgbClr val="A4A3A4"/>
          </p15:clr>
        </p15:guide>
        <p15:guide id="2" orient="horz" pos="230">
          <p15:clr>
            <a:srgbClr val="A4A3A4"/>
          </p15:clr>
        </p15:guide>
        <p15:guide id="3" orient="horz" pos="4534">
          <p15:clr>
            <a:srgbClr val="A4A3A4"/>
          </p15:clr>
        </p15:guide>
        <p15:guide id="4" orient="horz" pos="4286">
          <p15:clr>
            <a:srgbClr val="A4A3A4"/>
          </p15:clr>
        </p15:guide>
        <p15:guide id="5" pos="4234">
          <p15:clr>
            <a:srgbClr val="A4A3A4"/>
          </p15:clr>
        </p15:guide>
        <p15:guide id="6" pos="237">
          <p15:clr>
            <a:srgbClr val="A4A3A4"/>
          </p15:clr>
        </p15:guide>
        <p15:guide id="7" pos="8229">
          <p15:clr>
            <a:srgbClr val="A4A3A4"/>
          </p15:clr>
        </p15:guide>
        <p15:guide id="8" pos="949">
          <p15:clr>
            <a:srgbClr val="A4A3A4"/>
          </p15:clr>
        </p15:guide>
        <p15:guide id="9" pos="7517">
          <p15:clr>
            <a:srgbClr val="A4A3A4"/>
          </p15:clr>
        </p15:guide>
        <p15:guide id="10" orient="horz" pos="1685">
          <p15:clr>
            <a:srgbClr val="A4A3A4"/>
          </p15:clr>
        </p15:guide>
        <p15:guide id="11" orient="horz" pos="161">
          <p15:clr>
            <a:srgbClr val="A4A3A4"/>
          </p15:clr>
        </p15:guide>
        <p15:guide id="12" orient="horz" pos="3094" userDrawn="1">
          <p15:clr>
            <a:srgbClr val="A4A3A4"/>
          </p15:clr>
        </p15:guide>
        <p15:guide id="13" orient="horz" pos="2527" userDrawn="1">
          <p15:clr>
            <a:srgbClr val="A4A3A4"/>
          </p15:clr>
        </p15:guide>
        <p15:guide id="14" orient="horz" pos="875">
          <p15:clr>
            <a:srgbClr val="A4A3A4"/>
          </p15:clr>
        </p15:guide>
        <p15:guide id="15" orient="horz" pos="1749">
          <p15:clr>
            <a:srgbClr val="A4A3A4"/>
          </p15:clr>
        </p15:guide>
        <p15:guide id="16" orient="horz" pos="621">
          <p15:clr>
            <a:srgbClr val="A4A3A4"/>
          </p15:clr>
        </p15:guide>
        <p15:guide id="17" orient="horz" pos="2865">
          <p15:clr>
            <a:srgbClr val="A4A3A4"/>
          </p15:clr>
        </p15:guide>
        <p15:guide id="18" orient="horz" pos="2130">
          <p15:clr>
            <a:srgbClr val="A4A3A4"/>
          </p15:clr>
        </p15:guide>
        <p15:guide id="19" orient="horz" pos="2187" userDrawn="1">
          <p15:clr>
            <a:srgbClr val="A4A3A4"/>
          </p15:clr>
        </p15:guide>
        <p15:guide id="20" orient="horz" pos="321">
          <p15:clr>
            <a:srgbClr val="A4A3A4"/>
          </p15:clr>
        </p15:guide>
        <p15:guide id="21" orient="horz" pos="1607">
          <p15:clr>
            <a:srgbClr val="A4A3A4"/>
          </p15:clr>
        </p15:guide>
        <p15:guide id="22" pos="2880">
          <p15:clr>
            <a:srgbClr val="A4A3A4"/>
          </p15:clr>
        </p15:guide>
        <p15:guide id="23" pos="156">
          <p15:clr>
            <a:srgbClr val="A4A3A4"/>
          </p15:clr>
        </p15:guide>
        <p15:guide id="24" pos="5598">
          <p15:clr>
            <a:srgbClr val="A4A3A4"/>
          </p15:clr>
        </p15:guide>
        <p15:guide id="25" pos="399">
          <p15:clr>
            <a:srgbClr val="A4A3A4"/>
          </p15:clr>
        </p15:guide>
        <p15:guide id="26" pos="5114">
          <p15:clr>
            <a:srgbClr val="A4A3A4"/>
          </p15:clr>
        </p15:guide>
        <p15:guide id="27" pos="1373">
          <p15:clr>
            <a:srgbClr val="A4A3A4"/>
          </p15:clr>
        </p15:guide>
        <p15:guide id="28" pos="4383">
          <p15:clr>
            <a:srgbClr val="A4A3A4"/>
          </p15:clr>
        </p15:guide>
        <p15:guide id="29" pos="53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2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E6E71"/>
    <a:srgbClr val="7F7F7F"/>
    <a:srgbClr val="763B00"/>
    <a:srgbClr val="F6927E"/>
    <a:srgbClr val="F2664B"/>
    <a:srgbClr val="462300"/>
    <a:srgbClr val="FF99CC"/>
    <a:srgbClr val="865988"/>
    <a:srgbClr val="595959"/>
    <a:srgbClr val="9696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AB7A70-13EC-4481-95BE-C7F0B7878E53}" v="13" dt="2025-11-05T14:18:31.413"/>
    <p1510:client id="{EC58BDDD-90C3-416D-8B27-8AAF2221AE99}" v="21" dt="2025-11-04T16:59:53.6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3479" autoAdjust="0"/>
    <p:restoredTop sz="92042" autoAdjust="0"/>
  </p:normalViewPr>
  <p:slideViewPr>
    <p:cSldViewPr snapToGrid="0" snapToObjects="1" showGuides="1">
      <p:cViewPr varScale="1">
        <p:scale>
          <a:sx n="84" d="100"/>
          <a:sy n="84" d="100"/>
        </p:scale>
        <p:origin x="264" y="52"/>
      </p:cViewPr>
      <p:guideLst>
        <p:guide orient="horz" pos="2391"/>
        <p:guide orient="horz" pos="230"/>
        <p:guide orient="horz" pos="4534"/>
        <p:guide orient="horz" pos="4286"/>
        <p:guide pos="4234"/>
        <p:guide pos="237"/>
        <p:guide pos="8229"/>
        <p:guide pos="949"/>
        <p:guide pos="7517"/>
        <p:guide orient="horz" pos="1685"/>
        <p:guide orient="horz" pos="161"/>
        <p:guide orient="horz" pos="3094"/>
        <p:guide orient="horz" pos="2527"/>
        <p:guide orient="horz" pos="875"/>
        <p:guide orient="horz" pos="1749"/>
        <p:guide orient="horz" pos="621"/>
        <p:guide orient="horz" pos="2865"/>
        <p:guide orient="horz" pos="2130"/>
        <p:guide orient="horz" pos="2187"/>
        <p:guide orient="horz" pos="321"/>
        <p:guide orient="horz" pos="1607"/>
        <p:guide pos="2880"/>
        <p:guide pos="156"/>
        <p:guide pos="5598"/>
        <p:guide pos="399"/>
        <p:guide pos="5114"/>
        <p:guide pos="1373"/>
        <p:guide pos="4383"/>
        <p:guide pos="536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8612"/>
    </p:cViewPr>
  </p:sorterViewPr>
  <p:notesViewPr>
    <p:cSldViewPr snapToGrid="0" snapToObjects="1" showGuides="1">
      <p:cViewPr varScale="1">
        <p:scale>
          <a:sx n="81" d="100"/>
          <a:sy n="81" d="100"/>
        </p:scale>
        <p:origin x="3138" y="90"/>
      </p:cViewPr>
      <p:guideLst>
        <p:guide orient="horz" pos="3109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gs" Target="tags/tag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0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9.xlsx"/><Relationship Id="rId2" Type="http://schemas.microsoft.com/office/2011/relationships/chartColorStyle" Target="colors100.xml"/><Relationship Id="rId1" Type="http://schemas.microsoft.com/office/2011/relationships/chartStyle" Target="style100.xml"/></Relationships>
</file>

<file path=ppt/charts/_rels/chart10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0.xlsx"/><Relationship Id="rId2" Type="http://schemas.microsoft.com/office/2011/relationships/chartColorStyle" Target="colors101.xml"/><Relationship Id="rId1" Type="http://schemas.microsoft.com/office/2011/relationships/chartStyle" Target="style101.xml"/></Relationships>
</file>

<file path=ppt/charts/_rels/chart10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1.xlsx"/><Relationship Id="rId2" Type="http://schemas.microsoft.com/office/2011/relationships/chartColorStyle" Target="colors102.xml"/><Relationship Id="rId1" Type="http://schemas.microsoft.com/office/2011/relationships/chartStyle" Target="style102.xml"/></Relationships>
</file>

<file path=ppt/charts/_rels/chart10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2.xlsx"/><Relationship Id="rId2" Type="http://schemas.microsoft.com/office/2011/relationships/chartColorStyle" Target="colors103.xml"/><Relationship Id="rId1" Type="http://schemas.microsoft.com/office/2011/relationships/chartStyle" Target="style103.xml"/></Relationships>
</file>

<file path=ppt/charts/_rels/chart10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3.xlsx"/><Relationship Id="rId2" Type="http://schemas.microsoft.com/office/2011/relationships/chartColorStyle" Target="colors104.xml"/><Relationship Id="rId1" Type="http://schemas.microsoft.com/office/2011/relationships/chartStyle" Target="style104.xml"/></Relationships>
</file>

<file path=ppt/charts/_rels/chart10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4.xlsx"/><Relationship Id="rId2" Type="http://schemas.microsoft.com/office/2011/relationships/chartColorStyle" Target="colors105.xml"/><Relationship Id="rId1" Type="http://schemas.microsoft.com/office/2011/relationships/chartStyle" Target="style105.xml"/></Relationships>
</file>

<file path=ppt/charts/_rels/chart10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5.xlsx"/><Relationship Id="rId2" Type="http://schemas.microsoft.com/office/2011/relationships/chartColorStyle" Target="colors106.xml"/><Relationship Id="rId1" Type="http://schemas.microsoft.com/office/2011/relationships/chartStyle" Target="style106.xml"/></Relationships>
</file>

<file path=ppt/charts/_rels/chart10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6.xlsx"/><Relationship Id="rId2" Type="http://schemas.microsoft.com/office/2011/relationships/chartColorStyle" Target="colors107.xml"/><Relationship Id="rId1" Type="http://schemas.microsoft.com/office/2011/relationships/chartStyle" Target="style107.xml"/></Relationships>
</file>

<file path=ppt/charts/_rels/chart10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7.xlsx"/><Relationship Id="rId2" Type="http://schemas.microsoft.com/office/2011/relationships/chartColorStyle" Target="colors108.xml"/><Relationship Id="rId1" Type="http://schemas.microsoft.com/office/2011/relationships/chartStyle" Target="style108.xml"/></Relationships>
</file>

<file path=ppt/charts/_rels/chart10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8.xlsx"/><Relationship Id="rId2" Type="http://schemas.microsoft.com/office/2011/relationships/chartColorStyle" Target="colors109.xml"/><Relationship Id="rId1" Type="http://schemas.microsoft.com/office/2011/relationships/chartStyle" Target="style10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9.xlsx"/><Relationship Id="rId2" Type="http://schemas.microsoft.com/office/2011/relationships/chartColorStyle" Target="colors110.xml"/><Relationship Id="rId1" Type="http://schemas.microsoft.com/office/2011/relationships/chartStyle" Target="style110.xml"/></Relationships>
</file>

<file path=ppt/charts/_rels/chart1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0.xlsx"/><Relationship Id="rId2" Type="http://schemas.microsoft.com/office/2011/relationships/chartColorStyle" Target="colors111.xml"/><Relationship Id="rId1" Type="http://schemas.microsoft.com/office/2011/relationships/chartStyle" Target="style111.xml"/></Relationships>
</file>

<file path=ppt/charts/_rels/chart1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1.xlsx"/><Relationship Id="rId2" Type="http://schemas.microsoft.com/office/2011/relationships/chartColorStyle" Target="colors112.xml"/><Relationship Id="rId1" Type="http://schemas.microsoft.com/office/2011/relationships/chartStyle" Target="style112.xml"/></Relationships>
</file>

<file path=ppt/charts/_rels/chart1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2.xlsx"/><Relationship Id="rId2" Type="http://schemas.microsoft.com/office/2011/relationships/chartColorStyle" Target="colors113.xml"/><Relationship Id="rId1" Type="http://schemas.microsoft.com/office/2011/relationships/chartStyle" Target="style113.xml"/></Relationships>
</file>

<file path=ppt/charts/_rels/chart1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3.xlsx"/><Relationship Id="rId2" Type="http://schemas.microsoft.com/office/2011/relationships/chartColorStyle" Target="colors114.xml"/><Relationship Id="rId1" Type="http://schemas.microsoft.com/office/2011/relationships/chartStyle" Target="style114.xml"/></Relationships>
</file>

<file path=ppt/charts/_rels/chart1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4.xlsx"/><Relationship Id="rId2" Type="http://schemas.microsoft.com/office/2011/relationships/chartColorStyle" Target="colors115.xml"/><Relationship Id="rId1" Type="http://schemas.microsoft.com/office/2011/relationships/chartStyle" Target="style115.xml"/></Relationships>
</file>

<file path=ppt/charts/_rels/chart1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5.xlsx"/><Relationship Id="rId2" Type="http://schemas.microsoft.com/office/2011/relationships/chartColorStyle" Target="colors116.xml"/><Relationship Id="rId1" Type="http://schemas.microsoft.com/office/2011/relationships/chartStyle" Target="style116.xml"/></Relationships>
</file>

<file path=ppt/charts/_rels/chart1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6.xlsx"/><Relationship Id="rId2" Type="http://schemas.microsoft.com/office/2011/relationships/chartColorStyle" Target="colors117.xml"/><Relationship Id="rId1" Type="http://schemas.microsoft.com/office/2011/relationships/chartStyle" Target="style117.xml"/></Relationships>
</file>

<file path=ppt/charts/_rels/chart1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7.xlsx"/><Relationship Id="rId2" Type="http://schemas.microsoft.com/office/2011/relationships/chartColorStyle" Target="colors118.xml"/><Relationship Id="rId1" Type="http://schemas.microsoft.com/office/2011/relationships/chartStyle" Target="style118.xml"/></Relationships>
</file>

<file path=ppt/charts/_rels/chart1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8.xlsx"/><Relationship Id="rId2" Type="http://schemas.microsoft.com/office/2011/relationships/chartColorStyle" Target="colors119.xml"/><Relationship Id="rId1" Type="http://schemas.microsoft.com/office/2011/relationships/chartStyle" Target="style119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Microsoft_Excel_Worksheet11.xlsx"/></Relationships>
</file>

<file path=ppt/charts/_rels/chart1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9.xlsx"/><Relationship Id="rId2" Type="http://schemas.microsoft.com/office/2011/relationships/chartColorStyle" Target="colors120.xml"/><Relationship Id="rId1" Type="http://schemas.microsoft.com/office/2011/relationships/chartStyle" Target="style120.xml"/></Relationships>
</file>

<file path=ppt/charts/_rels/chart1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0.xlsx"/><Relationship Id="rId2" Type="http://schemas.microsoft.com/office/2011/relationships/chartColorStyle" Target="colors121.xml"/><Relationship Id="rId1" Type="http://schemas.microsoft.com/office/2011/relationships/chartStyle" Target="style121.xml"/></Relationships>
</file>

<file path=ppt/charts/_rels/chart1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1.xlsx"/><Relationship Id="rId2" Type="http://schemas.microsoft.com/office/2011/relationships/chartColorStyle" Target="colors122.xml"/><Relationship Id="rId1" Type="http://schemas.microsoft.com/office/2011/relationships/chartStyle" Target="style122.xml"/></Relationships>
</file>

<file path=ppt/charts/_rels/chart1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2.xlsx"/><Relationship Id="rId2" Type="http://schemas.microsoft.com/office/2011/relationships/chartColorStyle" Target="colors123.xml"/><Relationship Id="rId1" Type="http://schemas.microsoft.com/office/2011/relationships/chartStyle" Target="style123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28.xml"/><Relationship Id="rId1" Type="http://schemas.microsoft.com/office/2011/relationships/chartStyle" Target="style28.xml"/><Relationship Id="rId4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29.xml"/><Relationship Id="rId1" Type="http://schemas.microsoft.com/office/2011/relationships/chartStyle" Target="style29.xml"/><Relationship Id="rId4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30.xml"/><Relationship Id="rId1" Type="http://schemas.microsoft.com/office/2011/relationships/chartStyle" Target="style30.xml"/><Relationship Id="rId4" Type="http://schemas.openxmlformats.org/officeDocument/2006/relationships/package" Target="../embeddings/Microsoft_Excel_Worksheet29.xlsx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31.xml"/><Relationship Id="rId1" Type="http://schemas.microsoft.com/office/2011/relationships/chartStyle" Target="style31.xml"/><Relationship Id="rId4" Type="http://schemas.openxmlformats.org/officeDocument/2006/relationships/package" Target="../embeddings/Microsoft_Excel_Worksheet30.xlsx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32.xml"/><Relationship Id="rId1" Type="http://schemas.microsoft.com/office/2011/relationships/chartStyle" Target="style32.xml"/><Relationship Id="rId4" Type="http://schemas.openxmlformats.org/officeDocument/2006/relationships/package" Target="../embeddings/Microsoft_Excel_Worksheet31.xlsx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33.xml"/><Relationship Id="rId1" Type="http://schemas.microsoft.com/office/2011/relationships/chartStyle" Target="style33.xml"/><Relationship Id="rId4" Type="http://schemas.openxmlformats.org/officeDocument/2006/relationships/package" Target="../embeddings/Microsoft_Excel_Worksheet32.xlsx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34.xml"/><Relationship Id="rId1" Type="http://schemas.microsoft.com/office/2011/relationships/chartStyle" Target="style34.xml"/><Relationship Id="rId4" Type="http://schemas.openxmlformats.org/officeDocument/2006/relationships/package" Target="../embeddings/Microsoft_Excel_Worksheet33.xlsx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35.xml"/><Relationship Id="rId1" Type="http://schemas.microsoft.com/office/2011/relationships/chartStyle" Target="style35.xml"/><Relationship Id="rId4" Type="http://schemas.openxmlformats.org/officeDocument/2006/relationships/package" Target="../embeddings/Microsoft_Excel_Worksheet34.xlsx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36.xml"/><Relationship Id="rId1" Type="http://schemas.microsoft.com/office/2011/relationships/chartStyle" Target="style36.xml"/><Relationship Id="rId4" Type="http://schemas.openxmlformats.org/officeDocument/2006/relationships/package" Target="../embeddings/Microsoft_Excel_Worksheet35.xlsx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4.xml"/><Relationship Id="rId2" Type="http://schemas.microsoft.com/office/2011/relationships/chartColorStyle" Target="colors37.xml"/><Relationship Id="rId1" Type="http://schemas.microsoft.com/office/2011/relationships/chartStyle" Target="style37.xml"/><Relationship Id="rId4" Type="http://schemas.openxmlformats.org/officeDocument/2006/relationships/package" Target="../embeddings/Microsoft_Excel_Worksheet36.xlsx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5.xml"/><Relationship Id="rId2" Type="http://schemas.microsoft.com/office/2011/relationships/chartColorStyle" Target="colors38.xml"/><Relationship Id="rId1" Type="http://schemas.microsoft.com/office/2011/relationships/chartStyle" Target="style38.xml"/><Relationship Id="rId4" Type="http://schemas.openxmlformats.org/officeDocument/2006/relationships/package" Target="../embeddings/Microsoft_Excel_Worksheet37.xlsx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6.xml"/><Relationship Id="rId2" Type="http://schemas.microsoft.com/office/2011/relationships/chartColorStyle" Target="colors39.xml"/><Relationship Id="rId1" Type="http://schemas.microsoft.com/office/2011/relationships/chartStyle" Target="style39.xml"/><Relationship Id="rId4" Type="http://schemas.openxmlformats.org/officeDocument/2006/relationships/package" Target="../embeddings/Microsoft_Excel_Worksheet38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42.xml"/><Relationship Id="rId1" Type="http://schemas.microsoft.com/office/2011/relationships/chartStyle" Target="style42.xml"/><Relationship Id="rId4" Type="http://schemas.openxmlformats.org/officeDocument/2006/relationships/chartUserShapes" Target="../drawings/drawing2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2.xlsx"/><Relationship Id="rId2" Type="http://schemas.microsoft.com/office/2011/relationships/chartColorStyle" Target="colors43.xml"/><Relationship Id="rId1" Type="http://schemas.microsoft.com/office/2011/relationships/chartStyle" Target="style43.xml"/><Relationship Id="rId4" Type="http://schemas.openxmlformats.org/officeDocument/2006/relationships/chartUserShapes" Target="../drawings/drawing3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3.xlsx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4.xlsx"/><Relationship Id="rId2" Type="http://schemas.microsoft.com/office/2011/relationships/chartColorStyle" Target="colors45.xml"/><Relationship Id="rId1" Type="http://schemas.microsoft.com/office/2011/relationships/chartStyle" Target="style45.xml"/><Relationship Id="rId4" Type="http://schemas.openxmlformats.org/officeDocument/2006/relationships/chartUserShapes" Target="../drawings/drawing4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5.xlsx"/><Relationship Id="rId2" Type="http://schemas.microsoft.com/office/2011/relationships/chartColorStyle" Target="colors46.xml"/><Relationship Id="rId1" Type="http://schemas.microsoft.com/office/2011/relationships/chartStyle" Target="style46.xml"/><Relationship Id="rId4" Type="http://schemas.openxmlformats.org/officeDocument/2006/relationships/chartUserShapes" Target="../drawings/drawing5.xml"/></Relationships>
</file>

<file path=ppt/charts/_rels/chart4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6.xlsx"/><Relationship Id="rId2" Type="http://schemas.microsoft.com/office/2011/relationships/chartColorStyle" Target="colors47.xml"/><Relationship Id="rId1" Type="http://schemas.microsoft.com/office/2011/relationships/chartStyle" Target="style47.xml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7.xlsx"/><Relationship Id="rId2" Type="http://schemas.microsoft.com/office/2011/relationships/chartColorStyle" Target="colors48.xml"/><Relationship Id="rId1" Type="http://schemas.microsoft.com/office/2011/relationships/chartStyle" Target="style48.xm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8.xlsx"/><Relationship Id="rId2" Type="http://schemas.microsoft.com/office/2011/relationships/chartColorStyle" Target="colors49.xml"/><Relationship Id="rId1" Type="http://schemas.microsoft.com/office/2011/relationships/chartStyle" Target="style49.xml"/><Relationship Id="rId4" Type="http://schemas.openxmlformats.org/officeDocument/2006/relationships/chartUserShapes" Target="../drawings/drawing6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5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9.xlsx"/><Relationship Id="rId2" Type="http://schemas.microsoft.com/office/2011/relationships/chartColorStyle" Target="colors50.xml"/><Relationship Id="rId1" Type="http://schemas.microsoft.com/office/2011/relationships/chartStyle" Target="style50.xml"/><Relationship Id="rId4" Type="http://schemas.openxmlformats.org/officeDocument/2006/relationships/chartUserShapes" Target="../drawings/drawing7.xml"/></Relationships>
</file>

<file path=ppt/charts/_rels/chart5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0.xlsx"/><Relationship Id="rId2" Type="http://schemas.microsoft.com/office/2011/relationships/chartColorStyle" Target="colors51.xml"/><Relationship Id="rId1" Type="http://schemas.microsoft.com/office/2011/relationships/chartStyle" Target="style51.xml"/></Relationships>
</file>

<file path=ppt/charts/_rels/chart5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7.xml"/><Relationship Id="rId2" Type="http://schemas.microsoft.com/office/2011/relationships/chartColorStyle" Target="colors52.xml"/><Relationship Id="rId1" Type="http://schemas.microsoft.com/office/2011/relationships/chartStyle" Target="style52.xml"/><Relationship Id="rId4" Type="http://schemas.openxmlformats.org/officeDocument/2006/relationships/package" Target="../embeddings/Microsoft_Excel_Worksheet51.xlsx"/></Relationships>
</file>

<file path=ppt/charts/_rels/chart5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8.xml"/><Relationship Id="rId2" Type="http://schemas.microsoft.com/office/2011/relationships/chartColorStyle" Target="colors53.xml"/><Relationship Id="rId1" Type="http://schemas.microsoft.com/office/2011/relationships/chartStyle" Target="style53.xml"/><Relationship Id="rId4" Type="http://schemas.openxmlformats.org/officeDocument/2006/relationships/package" Target="../embeddings/Microsoft_Excel_Worksheet52.xlsx"/></Relationships>
</file>

<file path=ppt/charts/_rels/chart5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9.xml"/><Relationship Id="rId2" Type="http://schemas.microsoft.com/office/2011/relationships/chartColorStyle" Target="colors54.xml"/><Relationship Id="rId1" Type="http://schemas.microsoft.com/office/2011/relationships/chartStyle" Target="style54.xml"/><Relationship Id="rId4" Type="http://schemas.openxmlformats.org/officeDocument/2006/relationships/package" Target="../embeddings/Microsoft_Excel_Worksheet53.xlsx"/></Relationships>
</file>

<file path=ppt/charts/_rels/chart5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0.xml"/><Relationship Id="rId2" Type="http://schemas.microsoft.com/office/2011/relationships/chartColorStyle" Target="colors55.xml"/><Relationship Id="rId1" Type="http://schemas.microsoft.com/office/2011/relationships/chartStyle" Target="style55.xml"/><Relationship Id="rId4" Type="http://schemas.openxmlformats.org/officeDocument/2006/relationships/package" Target="../embeddings/Microsoft_Excel_Worksheet54.xlsx"/></Relationships>
</file>

<file path=ppt/charts/_rels/chart5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1.xml"/><Relationship Id="rId2" Type="http://schemas.microsoft.com/office/2011/relationships/chartColorStyle" Target="colors56.xml"/><Relationship Id="rId1" Type="http://schemas.microsoft.com/office/2011/relationships/chartStyle" Target="style56.xml"/><Relationship Id="rId4" Type="http://schemas.openxmlformats.org/officeDocument/2006/relationships/package" Target="../embeddings/Microsoft_Excel_Worksheet55.xlsx"/></Relationships>
</file>

<file path=ppt/charts/_rels/chart5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2.xml"/><Relationship Id="rId2" Type="http://schemas.microsoft.com/office/2011/relationships/chartColorStyle" Target="colors57.xml"/><Relationship Id="rId1" Type="http://schemas.microsoft.com/office/2011/relationships/chartStyle" Target="style57.xml"/><Relationship Id="rId4" Type="http://schemas.openxmlformats.org/officeDocument/2006/relationships/package" Target="../embeddings/Microsoft_Excel_Worksheet56.xlsx"/></Relationships>
</file>

<file path=ppt/charts/_rels/chart5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3.xml"/><Relationship Id="rId2" Type="http://schemas.microsoft.com/office/2011/relationships/chartColorStyle" Target="colors58.xml"/><Relationship Id="rId1" Type="http://schemas.microsoft.com/office/2011/relationships/chartStyle" Target="style58.xml"/><Relationship Id="rId4" Type="http://schemas.openxmlformats.org/officeDocument/2006/relationships/package" Target="../embeddings/Microsoft_Excel_Worksheet57.xlsx"/></Relationships>
</file>

<file path=ppt/charts/_rels/chart5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4.xml"/><Relationship Id="rId2" Type="http://schemas.microsoft.com/office/2011/relationships/chartColorStyle" Target="colors59.xml"/><Relationship Id="rId1" Type="http://schemas.microsoft.com/office/2011/relationships/chartStyle" Target="style59.xml"/><Relationship Id="rId4" Type="http://schemas.openxmlformats.org/officeDocument/2006/relationships/package" Target="../embeddings/Microsoft_Excel_Worksheet58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6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5.xml"/><Relationship Id="rId2" Type="http://schemas.microsoft.com/office/2011/relationships/chartColorStyle" Target="colors60.xml"/><Relationship Id="rId1" Type="http://schemas.microsoft.com/office/2011/relationships/chartStyle" Target="style60.xml"/><Relationship Id="rId4" Type="http://schemas.openxmlformats.org/officeDocument/2006/relationships/package" Target="../embeddings/Microsoft_Excel_Worksheet59.xlsx"/></Relationships>
</file>

<file path=ppt/charts/_rels/chart6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6.xml"/><Relationship Id="rId2" Type="http://schemas.microsoft.com/office/2011/relationships/chartColorStyle" Target="colors61.xml"/><Relationship Id="rId1" Type="http://schemas.microsoft.com/office/2011/relationships/chartStyle" Target="style61.xml"/><Relationship Id="rId4" Type="http://schemas.openxmlformats.org/officeDocument/2006/relationships/package" Target="../embeddings/Microsoft_Excel_Worksheet60.xlsx"/></Relationships>
</file>

<file path=ppt/charts/_rels/chart6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7.xml"/><Relationship Id="rId2" Type="http://schemas.microsoft.com/office/2011/relationships/chartColorStyle" Target="colors62.xml"/><Relationship Id="rId1" Type="http://schemas.microsoft.com/office/2011/relationships/chartStyle" Target="style62.xml"/><Relationship Id="rId4" Type="http://schemas.openxmlformats.org/officeDocument/2006/relationships/package" Target="../embeddings/Microsoft_Excel_Worksheet61.xlsx"/></Relationships>
</file>

<file path=ppt/charts/_rels/chart6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8.xml"/><Relationship Id="rId2" Type="http://schemas.microsoft.com/office/2011/relationships/chartColorStyle" Target="colors63.xml"/><Relationship Id="rId1" Type="http://schemas.microsoft.com/office/2011/relationships/chartStyle" Target="style63.xml"/><Relationship Id="rId4" Type="http://schemas.openxmlformats.org/officeDocument/2006/relationships/package" Target="../embeddings/Microsoft_Excel_Worksheet62.xlsx"/></Relationships>
</file>

<file path=ppt/charts/_rels/chart6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3.xlsx"/><Relationship Id="rId2" Type="http://schemas.microsoft.com/office/2011/relationships/chartColorStyle" Target="colors64.xml"/><Relationship Id="rId1" Type="http://schemas.microsoft.com/office/2011/relationships/chartStyle" Target="style64.xml"/></Relationships>
</file>

<file path=ppt/charts/_rels/chart6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4.xlsx"/><Relationship Id="rId2" Type="http://schemas.microsoft.com/office/2011/relationships/chartColorStyle" Target="colors65.xml"/><Relationship Id="rId1" Type="http://schemas.microsoft.com/office/2011/relationships/chartStyle" Target="style65.xml"/></Relationships>
</file>

<file path=ppt/charts/_rels/chart6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5.xlsx"/><Relationship Id="rId2" Type="http://schemas.microsoft.com/office/2011/relationships/chartColorStyle" Target="colors66.xml"/><Relationship Id="rId1" Type="http://schemas.microsoft.com/office/2011/relationships/chartStyle" Target="style66.xml"/></Relationships>
</file>

<file path=ppt/charts/_rels/chart6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6.xlsx"/><Relationship Id="rId2" Type="http://schemas.microsoft.com/office/2011/relationships/chartColorStyle" Target="colors67.xml"/><Relationship Id="rId1" Type="http://schemas.microsoft.com/office/2011/relationships/chartStyle" Target="style67.xml"/></Relationships>
</file>

<file path=ppt/charts/_rels/chart6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7.xlsx"/><Relationship Id="rId2" Type="http://schemas.microsoft.com/office/2011/relationships/chartColorStyle" Target="colors68.xml"/><Relationship Id="rId1" Type="http://schemas.microsoft.com/office/2011/relationships/chartStyle" Target="style68.xml"/><Relationship Id="rId4" Type="http://schemas.openxmlformats.org/officeDocument/2006/relationships/chartUserShapes" Target="../drawings/drawing8.xml"/></Relationships>
</file>

<file path=ppt/charts/_rels/chart6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8.xlsx"/><Relationship Id="rId2" Type="http://schemas.microsoft.com/office/2011/relationships/chartColorStyle" Target="colors69.xml"/><Relationship Id="rId1" Type="http://schemas.microsoft.com/office/2011/relationships/chartStyle" Target="style69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7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9.xlsx"/><Relationship Id="rId2" Type="http://schemas.microsoft.com/office/2011/relationships/chartColorStyle" Target="colors70.xml"/><Relationship Id="rId1" Type="http://schemas.microsoft.com/office/2011/relationships/chartStyle" Target="style70.xml"/></Relationships>
</file>

<file path=ppt/charts/_rels/chart7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0.xlsx"/><Relationship Id="rId2" Type="http://schemas.microsoft.com/office/2011/relationships/chartColorStyle" Target="colors71.xml"/><Relationship Id="rId1" Type="http://schemas.microsoft.com/office/2011/relationships/chartStyle" Target="style71.xml"/><Relationship Id="rId4" Type="http://schemas.openxmlformats.org/officeDocument/2006/relationships/chartUserShapes" Target="../drawings/drawing9.xml"/></Relationships>
</file>

<file path=ppt/charts/_rels/chart7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1.xlsx"/><Relationship Id="rId2" Type="http://schemas.microsoft.com/office/2011/relationships/chartColorStyle" Target="colors72.xml"/><Relationship Id="rId1" Type="http://schemas.microsoft.com/office/2011/relationships/chartStyle" Target="style72.xml"/><Relationship Id="rId4" Type="http://schemas.openxmlformats.org/officeDocument/2006/relationships/chartUserShapes" Target="../drawings/drawing10.xml"/></Relationships>
</file>

<file path=ppt/charts/_rels/chart7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2.xlsx"/><Relationship Id="rId2" Type="http://schemas.microsoft.com/office/2011/relationships/chartColorStyle" Target="colors73.xml"/><Relationship Id="rId1" Type="http://schemas.microsoft.com/office/2011/relationships/chartStyle" Target="style73.xml"/></Relationships>
</file>

<file path=ppt/charts/_rels/chart7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3.xlsx"/><Relationship Id="rId2" Type="http://schemas.microsoft.com/office/2011/relationships/chartColorStyle" Target="colors74.xml"/><Relationship Id="rId1" Type="http://schemas.microsoft.com/office/2011/relationships/chartStyle" Target="style74.xml"/></Relationships>
</file>

<file path=ppt/charts/_rels/chart7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4.xlsx"/><Relationship Id="rId2" Type="http://schemas.microsoft.com/office/2011/relationships/chartColorStyle" Target="colors75.xml"/><Relationship Id="rId1" Type="http://schemas.microsoft.com/office/2011/relationships/chartStyle" Target="style75.xml"/><Relationship Id="rId4" Type="http://schemas.openxmlformats.org/officeDocument/2006/relationships/chartUserShapes" Target="../drawings/drawing11.xml"/></Relationships>
</file>

<file path=ppt/charts/_rels/chart7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9.xml"/><Relationship Id="rId2" Type="http://schemas.microsoft.com/office/2011/relationships/chartColorStyle" Target="colors76.xml"/><Relationship Id="rId1" Type="http://schemas.microsoft.com/office/2011/relationships/chartStyle" Target="style76.xml"/><Relationship Id="rId4" Type="http://schemas.openxmlformats.org/officeDocument/2006/relationships/package" Target="../embeddings/Microsoft_Excel_Worksheet75.xlsx"/></Relationships>
</file>

<file path=ppt/charts/_rels/chart7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6.xlsx"/><Relationship Id="rId2" Type="http://schemas.microsoft.com/office/2011/relationships/chartColorStyle" Target="colors77.xml"/><Relationship Id="rId1" Type="http://schemas.microsoft.com/office/2011/relationships/chartStyle" Target="style77.xml"/></Relationships>
</file>

<file path=ppt/charts/_rels/chart7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7.xlsx"/><Relationship Id="rId2" Type="http://schemas.microsoft.com/office/2011/relationships/chartColorStyle" Target="colors78.xml"/><Relationship Id="rId1" Type="http://schemas.microsoft.com/office/2011/relationships/chartStyle" Target="style78.xml"/></Relationships>
</file>

<file path=ppt/charts/_rels/chart7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8.xlsx"/><Relationship Id="rId2" Type="http://schemas.microsoft.com/office/2011/relationships/chartColorStyle" Target="colors79.xml"/><Relationship Id="rId1" Type="http://schemas.microsoft.com/office/2011/relationships/chartStyle" Target="style79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8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9.xlsx"/><Relationship Id="rId2" Type="http://schemas.microsoft.com/office/2011/relationships/chartColorStyle" Target="colors80.xml"/><Relationship Id="rId1" Type="http://schemas.microsoft.com/office/2011/relationships/chartStyle" Target="style80.xml"/></Relationships>
</file>

<file path=ppt/charts/_rels/chart8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0.xlsx"/><Relationship Id="rId2" Type="http://schemas.microsoft.com/office/2011/relationships/chartColorStyle" Target="colors81.xml"/><Relationship Id="rId1" Type="http://schemas.microsoft.com/office/2011/relationships/chartStyle" Target="style81.xml"/></Relationships>
</file>

<file path=ppt/charts/_rels/chart8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1.xlsx"/><Relationship Id="rId2" Type="http://schemas.microsoft.com/office/2011/relationships/chartColorStyle" Target="colors82.xml"/><Relationship Id="rId1" Type="http://schemas.microsoft.com/office/2011/relationships/chartStyle" Target="style82.xml"/></Relationships>
</file>

<file path=ppt/charts/_rels/chart8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0.xml"/><Relationship Id="rId2" Type="http://schemas.microsoft.com/office/2011/relationships/chartColorStyle" Target="colors83.xml"/><Relationship Id="rId1" Type="http://schemas.microsoft.com/office/2011/relationships/chartStyle" Target="style83.xml"/><Relationship Id="rId4" Type="http://schemas.openxmlformats.org/officeDocument/2006/relationships/package" Target="../embeddings/Microsoft_Excel_Worksheet82.xlsx"/></Relationships>
</file>

<file path=ppt/charts/_rels/chart8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1.xml"/><Relationship Id="rId2" Type="http://schemas.microsoft.com/office/2011/relationships/chartColorStyle" Target="colors84.xml"/><Relationship Id="rId1" Type="http://schemas.microsoft.com/office/2011/relationships/chartStyle" Target="style84.xml"/><Relationship Id="rId4" Type="http://schemas.openxmlformats.org/officeDocument/2006/relationships/package" Target="../embeddings/Microsoft_Excel_Worksheet83.xlsx"/></Relationships>
</file>

<file path=ppt/charts/_rels/chart8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4.xlsx"/><Relationship Id="rId2" Type="http://schemas.microsoft.com/office/2011/relationships/chartColorStyle" Target="colors85.xml"/><Relationship Id="rId1" Type="http://schemas.microsoft.com/office/2011/relationships/chartStyle" Target="style85.xml"/></Relationships>
</file>

<file path=ppt/charts/_rels/chart8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5.xlsx"/><Relationship Id="rId2" Type="http://schemas.microsoft.com/office/2011/relationships/chartColorStyle" Target="colors86.xml"/><Relationship Id="rId1" Type="http://schemas.microsoft.com/office/2011/relationships/chartStyle" Target="style86.xml"/></Relationships>
</file>

<file path=ppt/charts/_rels/chart8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6.xlsx"/><Relationship Id="rId2" Type="http://schemas.microsoft.com/office/2011/relationships/chartColorStyle" Target="colors87.xml"/><Relationship Id="rId1" Type="http://schemas.microsoft.com/office/2011/relationships/chartStyle" Target="style87.xml"/></Relationships>
</file>

<file path=ppt/charts/_rels/chart8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7.xlsx"/><Relationship Id="rId2" Type="http://schemas.microsoft.com/office/2011/relationships/chartColorStyle" Target="colors88.xml"/><Relationship Id="rId1" Type="http://schemas.microsoft.com/office/2011/relationships/chartStyle" Target="style88.xml"/></Relationships>
</file>

<file path=ppt/charts/_rels/chart8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8.xlsx"/><Relationship Id="rId2" Type="http://schemas.microsoft.com/office/2011/relationships/chartColorStyle" Target="colors89.xml"/><Relationship Id="rId1" Type="http://schemas.microsoft.com/office/2011/relationships/chartStyle" Target="style89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9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9.xlsx"/><Relationship Id="rId2" Type="http://schemas.microsoft.com/office/2011/relationships/chartColorStyle" Target="colors90.xml"/><Relationship Id="rId1" Type="http://schemas.microsoft.com/office/2011/relationships/chartStyle" Target="style90.xml"/></Relationships>
</file>

<file path=ppt/charts/_rels/chart9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0.xlsx"/><Relationship Id="rId2" Type="http://schemas.microsoft.com/office/2011/relationships/chartColorStyle" Target="colors91.xml"/><Relationship Id="rId1" Type="http://schemas.microsoft.com/office/2011/relationships/chartStyle" Target="style91.xml"/></Relationships>
</file>

<file path=ppt/charts/_rels/chart9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1.xlsx"/><Relationship Id="rId2" Type="http://schemas.microsoft.com/office/2011/relationships/chartColorStyle" Target="colors92.xml"/><Relationship Id="rId1" Type="http://schemas.microsoft.com/office/2011/relationships/chartStyle" Target="style92.xml"/></Relationships>
</file>

<file path=ppt/charts/_rels/chart9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2.xlsx"/><Relationship Id="rId2" Type="http://schemas.microsoft.com/office/2011/relationships/chartColorStyle" Target="colors93.xml"/><Relationship Id="rId1" Type="http://schemas.microsoft.com/office/2011/relationships/chartStyle" Target="style93.xml"/></Relationships>
</file>

<file path=ppt/charts/_rels/chart9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3.xlsx"/><Relationship Id="rId2" Type="http://schemas.microsoft.com/office/2011/relationships/chartColorStyle" Target="colors94.xml"/><Relationship Id="rId1" Type="http://schemas.microsoft.com/office/2011/relationships/chartStyle" Target="style94.xml"/></Relationships>
</file>

<file path=ppt/charts/_rels/chart9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4.xlsx"/><Relationship Id="rId2" Type="http://schemas.microsoft.com/office/2011/relationships/chartColorStyle" Target="colors95.xml"/><Relationship Id="rId1" Type="http://schemas.microsoft.com/office/2011/relationships/chartStyle" Target="style95.xml"/></Relationships>
</file>

<file path=ppt/charts/_rels/chart9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5.xlsx"/><Relationship Id="rId2" Type="http://schemas.microsoft.com/office/2011/relationships/chartColorStyle" Target="colors96.xml"/><Relationship Id="rId1" Type="http://schemas.microsoft.com/office/2011/relationships/chartStyle" Target="style96.xml"/></Relationships>
</file>

<file path=ppt/charts/_rels/chart9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6.xlsx"/><Relationship Id="rId2" Type="http://schemas.microsoft.com/office/2011/relationships/chartColorStyle" Target="colors97.xml"/><Relationship Id="rId1" Type="http://schemas.microsoft.com/office/2011/relationships/chartStyle" Target="style97.xml"/></Relationships>
</file>

<file path=ppt/charts/_rels/chart9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7.xlsx"/><Relationship Id="rId2" Type="http://schemas.microsoft.com/office/2011/relationships/chartColorStyle" Target="colors98.xml"/><Relationship Id="rId1" Type="http://schemas.microsoft.com/office/2011/relationships/chartStyle" Target="style98.xml"/></Relationships>
</file>

<file path=ppt/charts/_rels/chart9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8.xlsx"/><Relationship Id="rId2" Type="http://schemas.microsoft.com/office/2011/relationships/chartColorStyle" Target="colors99.xml"/><Relationship Id="rId1" Type="http://schemas.microsoft.com/office/2011/relationships/chartStyle" Target="style9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883391901253512E-2"/>
          <c:y val="0.2385788795368172"/>
          <c:w val="0.89992630791560335"/>
          <c:h val="0.7006367409107602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B$2:$B$7</c:f>
              <c:numCache>
                <c:formatCode>0.0%</c:formatCode>
                <c:ptCount val="6"/>
                <c:pt idx="0">
                  <c:v>0.79100000000000004</c:v>
                </c:pt>
                <c:pt idx="1">
                  <c:v>0.67300000000000004</c:v>
                </c:pt>
                <c:pt idx="2">
                  <c:v>0.84299999999999997</c:v>
                </c:pt>
                <c:pt idx="5">
                  <c:v>0.904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DD3-4AA6-BB1B-FAB0445259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725653888"/>
        <c:axId val="284774416"/>
      </c:barChart>
      <c:catAx>
        <c:axId val="72565388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high"/>
        <c:crossAx val="284774416"/>
        <c:crosses val="autoZero"/>
        <c:auto val="1"/>
        <c:lblAlgn val="ctr"/>
        <c:lblOffset val="1000"/>
        <c:noMultiLvlLbl val="0"/>
      </c:catAx>
      <c:valAx>
        <c:axId val="284774416"/>
        <c:scaling>
          <c:orientation val="minMax"/>
          <c:max val="1"/>
          <c:min val="0"/>
        </c:scaling>
        <c:delete val="1"/>
        <c:axPos val="l"/>
        <c:numFmt formatCode="0.0%" sourceLinked="1"/>
        <c:majorTickMark val="out"/>
        <c:minorTickMark val="none"/>
        <c:tickLblPos val="nextTo"/>
        <c:crossAx val="725653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RTE Radio 1</c:v>
                </c:pt>
                <c:pt idx="1">
                  <c:v>Today FM</c:v>
                </c:pt>
                <c:pt idx="2">
                  <c:v>Newstalk</c:v>
                </c:pt>
                <c:pt idx="3">
                  <c:v>RTE 2FM</c:v>
                </c:pt>
                <c:pt idx="4">
                  <c:v>RTE Lyric FM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313</c:v>
                </c:pt>
                <c:pt idx="1">
                  <c:v>425</c:v>
                </c:pt>
                <c:pt idx="2">
                  <c:v>298</c:v>
                </c:pt>
                <c:pt idx="3">
                  <c:v>347</c:v>
                </c:pt>
                <c:pt idx="4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0F-4B42-AC3A-46B3089A504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RTE Radio 1</c:v>
                </c:pt>
                <c:pt idx="1">
                  <c:v>Today FM</c:v>
                </c:pt>
                <c:pt idx="2">
                  <c:v>Newstalk</c:v>
                </c:pt>
                <c:pt idx="3">
                  <c:v>RTE 2FM</c:v>
                </c:pt>
                <c:pt idx="4">
                  <c:v>RTE Lyric FM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316</c:v>
                </c:pt>
                <c:pt idx="1">
                  <c:v>378</c:v>
                </c:pt>
                <c:pt idx="2">
                  <c:v>286</c:v>
                </c:pt>
                <c:pt idx="3">
                  <c:v>298</c:v>
                </c:pt>
                <c:pt idx="4">
                  <c:v>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00F-4B42-AC3A-46B3089A50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1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785555091592771"/>
          <c:y val="0.86245674899666258"/>
          <c:w val="0.23728357319078397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10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6E6E71"/>
                </a:solidFill>
                <a:latin typeface="+mn-lt"/>
                <a:ea typeface="+mn-ea"/>
                <a:cs typeface="+mn-cs"/>
              </a:defRPr>
            </a:pPr>
            <a:r>
              <a:rPr lang="en-US" sz="900" dirty="0">
                <a:solidFill>
                  <a:srgbClr val="6E6E71"/>
                </a:solidFill>
              </a:rPr>
              <a:t>WATERFORD</a:t>
            </a:r>
          </a:p>
        </c:rich>
      </c:tx>
      <c:layout>
        <c:manualLayout>
          <c:xMode val="edge"/>
          <c:yMode val="edge"/>
          <c:x val="0.38289960144014429"/>
          <c:y val="0.4747972840421126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rgbClr val="6E6E7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835410138201925"/>
          <c:y val="0.11649192405780673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ATERFORD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1854122171281459"/>
                  <c:y val="-0.173016980186149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724235952186394"/>
                  <c:y val="0.1176515465265818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-0.16164712051747443"/>
                  <c:y val="0.110730867319135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0.1724235952186394"/>
                  <c:y val="2.07620376223379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993647819715518"/>
                  <c:y val="-6.92067920744599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5625888316689199"/>
                  <c:y val="-0.1107308673191359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1854122171281463"/>
                  <c:y val="-0.1384135841489199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14009417111514455"/>
                  <c:y val="-0.18685833860104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1.6164712051747344E-2"/>
                  <c:y val="-0.18685833860104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0.12931769641397955"/>
                  <c:y val="-0.15225494256381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377</c:v>
                </c:pt>
                <c:pt idx="1">
                  <c:v>0.17399999999999999</c:v>
                </c:pt>
                <c:pt idx="2">
                  <c:v>0.159</c:v>
                </c:pt>
                <c:pt idx="3">
                  <c:v>5.1999999999999998E-2</c:v>
                </c:pt>
                <c:pt idx="4">
                  <c:v>0.04</c:v>
                </c:pt>
                <c:pt idx="5">
                  <c:v>4.8000000000000001E-2</c:v>
                </c:pt>
                <c:pt idx="6">
                  <c:v>9.5000000000000001E-2</c:v>
                </c:pt>
                <c:pt idx="7">
                  <c:v>0</c:v>
                </c:pt>
                <c:pt idx="8">
                  <c:v>0</c:v>
                </c:pt>
                <c:pt idx="9">
                  <c:v>5.09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0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rgbClr val="6E6E71"/>
                </a:solidFill>
                <a:latin typeface="+mn-lt"/>
                <a:ea typeface="+mn-ea"/>
                <a:cs typeface="+mn-cs"/>
              </a:defRPr>
            </a:pPr>
            <a:r>
              <a:rPr lang="en-US" sz="1000" dirty="0">
                <a:solidFill>
                  <a:srgbClr val="6E6E71"/>
                </a:solidFill>
              </a:rPr>
              <a:t>KERRY</a:t>
            </a:r>
          </a:p>
        </c:rich>
      </c:tx>
      <c:layout>
        <c:manualLayout>
          <c:xMode val="edge"/>
          <c:yMode val="edge"/>
          <c:x val="0.43139373759538663"/>
          <c:y val="0.460955925627220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rgbClr val="6E6E7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296586403143678"/>
          <c:y val="0.12341260326525272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KERRY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3470593376456194"/>
                  <c:y val="-0.276827168297839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-0.10776474701164962"/>
                  <c:y val="0.173016980186149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-0.14548240846572699"/>
                  <c:y val="8.30481504893520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0.21014125667271677"/>
                  <c:y val="-4.15240752446759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20475301932213427"/>
                  <c:y val="-0.1384135841489199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724235952186394"/>
                  <c:y val="-0.18685833860104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4009417111514452"/>
                  <c:y val="-0.166096300978703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8.082356025873727E-2"/>
                  <c:y val="-0.18685833860104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1.0776474701164962E-2"/>
                  <c:y val="-0.1897399568411186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0.15625888316689196"/>
                  <c:y val="-0.131492904941473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54</c:v>
                </c:pt>
                <c:pt idx="1">
                  <c:v>0.114</c:v>
                </c:pt>
                <c:pt idx="2">
                  <c:v>0.13600000000000001</c:v>
                </c:pt>
                <c:pt idx="3">
                  <c:v>1.2999999999999999E-2</c:v>
                </c:pt>
                <c:pt idx="4">
                  <c:v>8.9999999999999993E-3</c:v>
                </c:pt>
                <c:pt idx="5">
                  <c:v>5.7000000000000002E-2</c:v>
                </c:pt>
                <c:pt idx="6">
                  <c:v>8.8999999999999996E-2</c:v>
                </c:pt>
                <c:pt idx="7">
                  <c:v>0</c:v>
                </c:pt>
                <c:pt idx="8">
                  <c:v>0</c:v>
                </c:pt>
                <c:pt idx="9">
                  <c:v>2.9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0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OIS, </a:t>
            </a:r>
          </a:p>
          <a:p>
            <a: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FFALY, </a:t>
            </a:r>
          </a:p>
          <a:p>
            <a: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r>
              <a:rPr lang="en-US" spc="-20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ESTMEATH</a:t>
            </a:r>
          </a:p>
        </c:rich>
      </c:tx>
      <c:layout>
        <c:manualLayout>
          <c:xMode val="edge"/>
          <c:yMode val="edge"/>
          <c:x val="0.37029155031043887"/>
          <c:y val="0.31835124354251587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835410138201925"/>
          <c:y val="6.0473598750529739E-2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AOIS, OFFALY, WESTMEATH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356-4879-9755-4D1B30AEE2D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356-4879-9755-4D1B30AEE2D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356-4879-9755-4D1B30AEE2D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356-4879-9755-4D1B30AEE2D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356-4879-9755-4D1B30AEE2D5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356-4879-9755-4D1B30AEE2D5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E356-4879-9755-4D1B30AEE2D5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E356-4879-9755-4D1B30AEE2D5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E356-4879-9755-4D1B30AEE2D5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E356-4879-9755-4D1B30AEE2D5}"/>
              </c:ext>
            </c:extLst>
          </c:dPt>
          <c:dLbls>
            <c:dLbl>
              <c:idx val="0"/>
              <c:layout>
                <c:manualLayout>
                  <c:x val="0.14548240846572699"/>
                  <c:y val="-0.1170815441288663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356-4879-9755-4D1B30AEE2D5}"/>
                </c:ext>
              </c:extLst>
            </c:dLbl>
            <c:dLbl>
              <c:idx val="1"/>
              <c:layout>
                <c:manualLayout>
                  <c:x val="0.14009417111514441"/>
                  <c:y val="9.68895089042439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356-4879-9755-4D1B30AEE2D5}"/>
                </c:ext>
              </c:extLst>
            </c:dLbl>
            <c:dLbl>
              <c:idx val="2"/>
              <c:layout>
                <c:manualLayout>
                  <c:x val="7.5435322908154634E-2"/>
                  <c:y val="0.145334263356365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356-4879-9755-4D1B30AEE2D5}"/>
                </c:ext>
              </c:extLst>
            </c:dLbl>
            <c:dLbl>
              <c:idx val="3"/>
              <c:layout>
                <c:manualLayout>
                  <c:x val="-1.6164712051747493E-2"/>
                  <c:y val="0.145334263356365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356-4879-9755-4D1B30AEE2D5}"/>
                </c:ext>
              </c:extLst>
            </c:dLbl>
            <c:dLbl>
              <c:idx val="4"/>
              <c:layout>
                <c:manualLayout>
                  <c:x val="-9.6988272310484666E-2"/>
                  <c:y val="0.159175621771257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356-4879-9755-4D1B30AEE2D5}"/>
                </c:ext>
              </c:extLst>
            </c:dLbl>
            <c:dLbl>
              <c:idx val="5"/>
              <c:layout>
                <c:manualLayout>
                  <c:x val="-0.16164712051747446"/>
                  <c:y val="7.61274712819058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356-4879-9755-4D1B30AEE2D5}"/>
                </c:ext>
              </c:extLst>
            </c:dLbl>
            <c:dLbl>
              <c:idx val="6"/>
              <c:layout>
                <c:manualLayout>
                  <c:x val="-0.17781183256922187"/>
                  <c:y val="-6.92067920744599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E356-4879-9755-4D1B30AEE2D5}"/>
                </c:ext>
              </c:extLst>
            </c:dLbl>
            <c:dLbl>
              <c:idx val="7"/>
              <c:layout>
                <c:manualLayout>
                  <c:x val="-0.15625888316689199"/>
                  <c:y val="-2.76827168297839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E356-4879-9755-4D1B30AEE2D5}"/>
                </c:ext>
              </c:extLst>
            </c:dLbl>
            <c:dLbl>
              <c:idx val="8"/>
              <c:layout>
                <c:manualLayout>
                  <c:x val="-0.14548240846572702"/>
                  <c:y val="-0.1176515465265819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E356-4879-9755-4D1B30AEE2D5}"/>
                </c:ext>
              </c:extLst>
            </c:dLbl>
            <c:dLbl>
              <c:idx val="9"/>
              <c:layout>
                <c:manualLayout>
                  <c:x val="-3.7717661454077421E-2"/>
                  <c:y val="-0.1515890315408592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E356-4879-9755-4D1B30AEE2D5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%</c:formatCode>
                <c:ptCount val="10"/>
                <c:pt idx="0" formatCode="0.00%">
                  <c:v>0.191</c:v>
                </c:pt>
                <c:pt idx="1">
                  <c:v>0.17299999999999999</c:v>
                </c:pt>
                <c:pt idx="2">
                  <c:v>0.127</c:v>
                </c:pt>
                <c:pt idx="3">
                  <c:v>0.113</c:v>
                </c:pt>
                <c:pt idx="4">
                  <c:v>5.0000000000000001E-3</c:v>
                </c:pt>
                <c:pt idx="5">
                  <c:v>0.10100000000000001</c:v>
                </c:pt>
                <c:pt idx="6">
                  <c:v>0.124</c:v>
                </c:pt>
                <c:pt idx="7">
                  <c:v>0</c:v>
                </c:pt>
                <c:pt idx="8">
                  <c:v>0</c:v>
                </c:pt>
                <c:pt idx="9">
                  <c:v>0.16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E356-4879-9755-4D1B30AEE2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0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rgbClr val="6E6E71"/>
                </a:solidFill>
                <a:latin typeface="+mn-lt"/>
                <a:ea typeface="+mn-ea"/>
                <a:cs typeface="+mn-cs"/>
              </a:defRPr>
            </a:pPr>
            <a:r>
              <a:rPr lang="en-US" sz="1050" dirty="0">
                <a:solidFill>
                  <a:srgbClr val="6E6E71"/>
                </a:solidFill>
              </a:rPr>
              <a:t>KILKENNY/ </a:t>
            </a:r>
          </a:p>
          <a:p>
            <a:pPr>
              <a:defRPr sz="1050">
                <a:solidFill>
                  <a:srgbClr val="6E6E71"/>
                </a:solidFill>
              </a:defRPr>
            </a:pPr>
            <a:r>
              <a:rPr lang="en-US" sz="1050" dirty="0">
                <a:solidFill>
                  <a:srgbClr val="6E6E71"/>
                </a:solidFill>
              </a:rPr>
              <a:t>CARLOW</a:t>
            </a:r>
          </a:p>
        </c:rich>
      </c:tx>
      <c:layout>
        <c:manualLayout>
          <c:xMode val="edge"/>
          <c:yMode val="edge"/>
          <c:x val="0.38828783879072681"/>
          <c:y val="0.3917491335527606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rgbClr val="6E6E7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835410138201925"/>
          <c:y val="6.0473598750529739E-2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KILKENNY/CARLOW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6164712051747435"/>
                  <c:y val="-0.179937659393595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4651084053957045"/>
                  <c:y val="-5.53654336595679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0.18596716314819009"/>
                  <c:y val="0.173016980186149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8.6211797609319699E-2"/>
                  <c:y val="0.13841358414891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3.2329424103494889E-2"/>
                  <c:y val="0.13841358414891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7242338308331062"/>
                  <c:y val="0.1522552150314971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371677218277917"/>
                      <c:h val="8.439795540248924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8320006991980439"/>
                  <c:y val="0.1176515465265818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22630596872446421"/>
                  <c:y val="-2.76827168297840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0.19397654462096933"/>
                  <c:y val="-0.124572225734027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-0.19397654462096933"/>
                  <c:y val="-0.15225494256381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9.0999999999999998E-2</c:v>
                </c:pt>
                <c:pt idx="1">
                  <c:v>0.23100000000000001</c:v>
                </c:pt>
                <c:pt idx="2">
                  <c:v>6.6000000000000003E-2</c:v>
                </c:pt>
                <c:pt idx="3">
                  <c:v>0.113</c:v>
                </c:pt>
                <c:pt idx="4">
                  <c:v>1.4E-2</c:v>
                </c:pt>
                <c:pt idx="5">
                  <c:v>6.9000000000000006E-2</c:v>
                </c:pt>
                <c:pt idx="6">
                  <c:v>0.31</c:v>
                </c:pt>
                <c:pt idx="7">
                  <c:v>0</c:v>
                </c:pt>
                <c:pt idx="8">
                  <c:v>0</c:v>
                </c:pt>
                <c:pt idx="9">
                  <c:v>0.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0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rgbClr val="6E6E71"/>
                </a:solidFill>
                <a:latin typeface="+mn-lt"/>
                <a:ea typeface="+mn-ea"/>
                <a:cs typeface="+mn-cs"/>
              </a:defRPr>
            </a:pPr>
            <a:r>
              <a:rPr lang="en-US" sz="1050" dirty="0">
                <a:solidFill>
                  <a:srgbClr val="6E6E71"/>
                </a:solidFill>
              </a:rPr>
              <a:t>KILDARE</a:t>
            </a:r>
          </a:p>
        </c:rich>
      </c:tx>
      <c:layout>
        <c:manualLayout>
          <c:xMode val="edge"/>
          <c:yMode val="edge"/>
          <c:x val="0.42061726289422163"/>
          <c:y val="0.4055903556514244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rgbClr val="6E6E7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835410138201925"/>
          <c:y val="6.0473598750529739E-2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KILDAR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724235952186394"/>
                  <c:y val="-0.145334263356365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5087064581630946"/>
                  <c:y val="-6.92067920744599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0.14548240846572699"/>
                  <c:y val="-8.30481504893519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0.19936478197155172"/>
                  <c:y val="0.110730867319135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0.13470593376456202"/>
                  <c:y val="0.15225494256381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9.1600034959902182E-2"/>
                  <c:y val="0.124572225734027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6703535786805696"/>
                  <c:y val="0.117651546526581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20475301932213427"/>
                  <c:y val="4.84447544521219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0.1993647819715518"/>
                  <c:y val="-0.1245719532663426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061087337811936"/>
                      <c:h val="8.439795540248924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-0.15625888316689196"/>
                  <c:y val="-0.103810188111689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16300000000000001</c:v>
                </c:pt>
                <c:pt idx="1">
                  <c:v>2.8000000000000001E-2</c:v>
                </c:pt>
                <c:pt idx="2">
                  <c:v>0.14299999999999999</c:v>
                </c:pt>
                <c:pt idx="3">
                  <c:v>0.104</c:v>
                </c:pt>
                <c:pt idx="4">
                  <c:v>0.03</c:v>
                </c:pt>
                <c:pt idx="5">
                  <c:v>8.2000000000000003E-2</c:v>
                </c:pt>
                <c:pt idx="6">
                  <c:v>0.17399999999999999</c:v>
                </c:pt>
                <c:pt idx="7">
                  <c:v>0.126</c:v>
                </c:pt>
                <c:pt idx="8">
                  <c:v>1.4E-2</c:v>
                </c:pt>
                <c:pt idx="9">
                  <c:v>0.135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0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rgbClr val="6E6E71"/>
                </a:solidFill>
                <a:latin typeface="+mn-lt"/>
                <a:ea typeface="+mn-ea"/>
                <a:cs typeface="+mn-cs"/>
              </a:defRPr>
            </a:pPr>
            <a:r>
              <a:rPr lang="en-US" sz="1050" dirty="0">
                <a:solidFill>
                  <a:srgbClr val="6E6E71"/>
                </a:solidFill>
              </a:rPr>
              <a:t>LOUTH/</a:t>
            </a:r>
          </a:p>
          <a:p>
            <a:pPr>
              <a:defRPr sz="1050">
                <a:solidFill>
                  <a:srgbClr val="6E6E71"/>
                </a:solidFill>
              </a:defRPr>
            </a:pPr>
            <a:r>
              <a:rPr lang="en-US" sz="1050" dirty="0">
                <a:solidFill>
                  <a:srgbClr val="6E6E71"/>
                </a:solidFill>
              </a:rPr>
              <a:t>MEATH</a:t>
            </a:r>
          </a:p>
        </c:rich>
      </c:tx>
      <c:layout>
        <c:manualLayout>
          <c:xMode val="edge"/>
          <c:yMode val="edge"/>
          <c:x val="0.43678197494596915"/>
          <c:y val="0.3917491335527606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rgbClr val="6E6E7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835410138201925"/>
          <c:y val="6.0473598750529739E-2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OUTH/MEATH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724235952186394"/>
                  <c:y val="-0.110730867319135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5497079745064246"/>
                  <c:y val="-5.53654336595679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0.14009417111514441"/>
                  <c:y val="0.124572225734027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0.10776474701164952"/>
                  <c:y val="0.138413584148919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4.8494136155242333E-2"/>
                  <c:y val="0.166096300978703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5.3882373505824812E-3"/>
                  <c:y val="0.13841358414891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2931769641397955"/>
                  <c:y val="0.145334263356365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15625888316689196"/>
                  <c:y val="0.166096300978703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0.18320006991980436"/>
                  <c:y val="3.4603396037229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-0.15087064581630949"/>
                  <c:y val="-0.1910755934346186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17199999999999999</c:v>
                </c:pt>
                <c:pt idx="1">
                  <c:v>4.7E-2</c:v>
                </c:pt>
                <c:pt idx="2">
                  <c:v>0.14799999999999999</c:v>
                </c:pt>
                <c:pt idx="3">
                  <c:v>4.5999999999999999E-2</c:v>
                </c:pt>
                <c:pt idx="4">
                  <c:v>2.5999999999999999E-2</c:v>
                </c:pt>
                <c:pt idx="5">
                  <c:v>5.8999999999999997E-2</c:v>
                </c:pt>
                <c:pt idx="6">
                  <c:v>0.14899999999999999</c:v>
                </c:pt>
                <c:pt idx="7">
                  <c:v>2.5000000000000001E-2</c:v>
                </c:pt>
                <c:pt idx="8">
                  <c:v>8.9999999999999993E-3</c:v>
                </c:pt>
                <c:pt idx="9">
                  <c:v>0.292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0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EXFORD</a:t>
            </a:r>
          </a:p>
        </c:rich>
      </c:tx>
      <c:layout>
        <c:manualLayout>
          <c:xMode val="edge"/>
          <c:yMode val="edge"/>
          <c:x val="0.38038113081706892"/>
          <c:y val="0.498288902936111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4218938933027179"/>
          <c:y val="0.13033328247269871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EXFORD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724235952186394"/>
                  <c:y val="-0.2076203762233798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9397654462096942"/>
                  <c:y val="8.99688296967979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6.4658848206989777E-2"/>
                  <c:y val="0.113022865488153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0.18320006991980436"/>
                  <c:y val="0.124572225734027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724235952186394"/>
                  <c:y val="6.92067920744598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993647819715518"/>
                  <c:y val="-4.84447544521219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21552949402329924"/>
                  <c:y val="-7.61274712819059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5.9270610856407342E-2"/>
                  <c:y val="-0.18685833860104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0.22091773137388174"/>
                  <c:y val="-0.15225494256381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8.0823560258737118E-2"/>
                  <c:y val="-0.179937659393595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23300000000000001</c:v>
                </c:pt>
                <c:pt idx="1">
                  <c:v>0.27</c:v>
                </c:pt>
                <c:pt idx="2">
                  <c:v>5.1999999999999998E-2</c:v>
                </c:pt>
                <c:pt idx="3">
                  <c:v>2.5000000000000001E-2</c:v>
                </c:pt>
                <c:pt idx="4">
                  <c:v>0</c:v>
                </c:pt>
                <c:pt idx="5">
                  <c:v>6.0999999999999999E-2</c:v>
                </c:pt>
                <c:pt idx="6">
                  <c:v>0.34499999999999997</c:v>
                </c:pt>
                <c:pt idx="7">
                  <c:v>0</c:v>
                </c:pt>
                <c:pt idx="8">
                  <c:v>0</c:v>
                </c:pt>
                <c:pt idx="9">
                  <c:v>1.4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0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40305203340198026"/>
          <c:y val="0.49828890293611178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4218938933027179"/>
          <c:y val="0.13033328247269871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ICKLOW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7.5435322908154842E-2"/>
                  <c:y val="-0.186858338601041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4009417111514441"/>
                  <c:y val="-2.76827168297839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0.13641150180781736"/>
                  <c:y val="0.13841358414891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9.1600034959902085E-2"/>
                  <c:y val="0.131492904941473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2931769641397955"/>
                  <c:y val="0.1184509667153475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9397654462096933"/>
                  <c:y val="0.1107308673191358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20475301932213427"/>
                  <c:y val="-2.07620376223379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22091773137388174"/>
                  <c:y val="-0.131492904941473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7.5435322908154787E-2"/>
                  <c:y val="-0.17301698018614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1.6164712051747493E-2"/>
                  <c:y val="-0.193779017808487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19500000000000001</c:v>
                </c:pt>
                <c:pt idx="1">
                  <c:v>0</c:v>
                </c:pt>
                <c:pt idx="2">
                  <c:v>0.17199999999999999</c:v>
                </c:pt>
                <c:pt idx="3">
                  <c:v>0.15</c:v>
                </c:pt>
                <c:pt idx="4">
                  <c:v>4.7E-2</c:v>
                </c:pt>
                <c:pt idx="5">
                  <c:v>6.5000000000000002E-2</c:v>
                </c:pt>
                <c:pt idx="6">
                  <c:v>0.19700000000000001</c:v>
                </c:pt>
                <c:pt idx="7">
                  <c:v>4.0000000000000001E-3</c:v>
                </c:pt>
                <c:pt idx="8">
                  <c:v>0</c:v>
                </c:pt>
                <c:pt idx="9">
                  <c:v>0.168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0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40305203340198026"/>
          <c:y val="0.49828890293611178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4218938933027179"/>
          <c:y val="0.13033328247269871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IMERICK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4548240846572699"/>
                  <c:y val="-0.131492904941473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7781183256922198"/>
                  <c:y val="0.13841358414891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4.8494136155242229E-2"/>
                  <c:y val="0.1112109553806918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4.8494136155242333E-2"/>
                  <c:y val="0.1215238572705277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3470593376456205"/>
                  <c:y val="0.1315860888898576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9063838308755335"/>
                  <c:y val="2.07620376223379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724235952186394"/>
                  <c:y val="7.61274712819059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21014125667271677"/>
                  <c:y val="-4.15240752446759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0.15625888316689196"/>
                  <c:y val="-0.15225494256381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-5.38823735058258E-3"/>
                  <c:y val="-0.17301698018614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23499999999999999</c:v>
                </c:pt>
                <c:pt idx="1">
                  <c:v>0.20499999999999999</c:v>
                </c:pt>
                <c:pt idx="2">
                  <c:v>7.5999999999999998E-2</c:v>
                </c:pt>
                <c:pt idx="3">
                  <c:v>6.4000000000000001E-2</c:v>
                </c:pt>
                <c:pt idx="4">
                  <c:v>3.5999999999999997E-2</c:v>
                </c:pt>
                <c:pt idx="5">
                  <c:v>7.4999999999999997E-2</c:v>
                </c:pt>
                <c:pt idx="6">
                  <c:v>0.22600000000000001</c:v>
                </c:pt>
                <c:pt idx="7">
                  <c:v>0</c:v>
                </c:pt>
                <c:pt idx="8">
                  <c:v>7.6999999999999999E-2</c:v>
                </c:pt>
                <c:pt idx="9">
                  <c:v>7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0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38149908399965038"/>
          <c:y val="0.49828890293611178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4218938933027179"/>
          <c:y val="0.13033328247269871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IPPERARY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0776474701164952"/>
                  <c:y val="-0.1591756217712579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2737241544922201"/>
                  <c:y val="0.159175621771257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-4.8494136155242382E-2"/>
                  <c:y val="0.112855570329358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0.10776474701164965"/>
                  <c:y val="0.1737956928308302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7781183256922187"/>
                  <c:y val="7.61274712819059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7781183256922187"/>
                  <c:y val="6.920679207445996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8320006991980436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22630596872446421"/>
                  <c:y val="-1.38413584148919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0.12392945906339707"/>
                  <c:y val="-8.30481504893519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-5.3882373505824858E-2"/>
                  <c:y val="-0.179937659393595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26300000000000001</c:v>
                </c:pt>
                <c:pt idx="1">
                  <c:v>0.21199999999999999</c:v>
                </c:pt>
                <c:pt idx="2">
                  <c:v>0.107</c:v>
                </c:pt>
                <c:pt idx="3">
                  <c:v>0.109</c:v>
                </c:pt>
                <c:pt idx="4">
                  <c:v>0.03</c:v>
                </c:pt>
                <c:pt idx="5">
                  <c:v>1.2E-2</c:v>
                </c:pt>
                <c:pt idx="6">
                  <c:v>0.159</c:v>
                </c:pt>
                <c:pt idx="7">
                  <c:v>0</c:v>
                </c:pt>
                <c:pt idx="8">
                  <c:v>0</c:v>
                </c:pt>
                <c:pt idx="9">
                  <c:v>0.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25280621110757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3.401600144849241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C56-404A-93CC-C1CEDA4B2B9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
Group</c:v>
                </c:pt>
                <c:pt idx="2">
                  <c:v>IRS
Plus</c:v>
                </c:pt>
                <c:pt idx="3">
                  <c:v>Onic 
Urban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97</c:v>
                </c:pt>
                <c:pt idx="1">
                  <c:v>950</c:v>
                </c:pt>
                <c:pt idx="2">
                  <c:v>415</c:v>
                </c:pt>
                <c:pt idx="3">
                  <c:v>3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C56-404A-93CC-C1CEDA4B2B9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
Group</c:v>
                </c:pt>
                <c:pt idx="2">
                  <c:v>IRS
Plus</c:v>
                </c:pt>
                <c:pt idx="3">
                  <c:v>Onic 
Urban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585</c:v>
                </c:pt>
                <c:pt idx="1">
                  <c:v>947</c:v>
                </c:pt>
                <c:pt idx="2">
                  <c:v>421</c:v>
                </c:pt>
                <c:pt idx="3">
                  <c:v>3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C56-404A-93CC-C1CEDA4B2B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1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  <c:majorUnit val="1000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40236671017322179"/>
          <c:y val="0.8702466832974608"/>
          <c:w val="0.23728357319078397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1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n-NO" sz="900" dirty="0">
                <a:solidFill>
                  <a:schemeClr val="bg1">
                    <a:lumMod val="50000"/>
                  </a:schemeClr>
                </a:solidFill>
              </a:rPr>
              <a:t>S.DON /</a:t>
            </a:r>
          </a:p>
          <a:p>
            <a:pPr>
              <a:defRPr sz="900">
                <a:solidFill>
                  <a:schemeClr val="bg1">
                    <a:lumMod val="50000"/>
                  </a:schemeClr>
                </a:solidFill>
              </a:defRPr>
            </a:pPr>
            <a:r>
              <a:rPr lang="nn-NO" sz="900" dirty="0">
                <a:solidFill>
                  <a:schemeClr val="bg1">
                    <a:lumMod val="50000"/>
                  </a:schemeClr>
                </a:solidFill>
              </a:rPr>
              <a:t>SLIGO/</a:t>
            </a:r>
          </a:p>
          <a:p>
            <a:pPr>
              <a:defRPr sz="900">
                <a:solidFill>
                  <a:schemeClr val="bg1">
                    <a:lumMod val="50000"/>
                  </a:schemeClr>
                </a:solidFill>
              </a:defRPr>
            </a:pPr>
            <a:r>
              <a:rPr lang="nn-NO" sz="900" dirty="0">
                <a:solidFill>
                  <a:schemeClr val="bg1">
                    <a:lumMod val="50000"/>
                  </a:schemeClr>
                </a:solidFill>
              </a:rPr>
              <a:t>N.LEIT</a:t>
            </a:r>
          </a:p>
        </c:rich>
      </c:tx>
      <c:layout>
        <c:manualLayout>
          <c:xMode val="edge"/>
          <c:yMode val="edge"/>
          <c:x val="0.40735741365662625"/>
          <c:y val="0.41524075244675979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4218938933027179"/>
          <c:y val="0.13033328247269871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.DON SLIGO N.LEIT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9.9206349206349201E-2"/>
                  <c:y val="-0.124572225734027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3227513227513227"/>
                  <c:y val="2.07620376223379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0.10582010582010581"/>
                  <c:y val="0.159175621771257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9.2592592592592629E-2"/>
                  <c:y val="0.13841358414891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9841269841269843"/>
                  <c:y val="0.15225494256381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21164021164021163"/>
                  <c:y val="0.103810188111689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7195767195767195"/>
                  <c:y val="-4.84447544521219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25132275132275134"/>
                  <c:y val="-6.920679207445996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0.21164021164021163"/>
                  <c:y val="-8.30481504893519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3.3068783068783067E-2"/>
                  <c:y val="-0.15225494256381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19700000000000001</c:v>
                </c:pt>
                <c:pt idx="1">
                  <c:v>0.184</c:v>
                </c:pt>
                <c:pt idx="2">
                  <c:v>6.9000000000000006E-2</c:v>
                </c:pt>
                <c:pt idx="3">
                  <c:v>0.156</c:v>
                </c:pt>
                <c:pt idx="4">
                  <c:v>1.4E-2</c:v>
                </c:pt>
                <c:pt idx="5">
                  <c:v>9.0999999999999998E-2</c:v>
                </c:pt>
                <c:pt idx="6">
                  <c:v>0.192</c:v>
                </c:pt>
                <c:pt idx="7">
                  <c:v>0</c:v>
                </c:pt>
                <c:pt idx="8">
                  <c:v>0</c:v>
                </c:pt>
                <c:pt idx="9">
                  <c:v>9.19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DONEGAL</a:t>
            </a:r>
          </a:p>
          <a:p>
            <a:pPr>
              <a:defRPr>
                <a:solidFill>
                  <a:schemeClr val="bg1">
                    <a:lumMod val="50000"/>
                  </a:schemeClr>
                </a:solidFill>
              </a:defRPr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NORTH</a:t>
            </a:r>
          </a:p>
        </c:rich>
      </c:tx>
      <c:layout>
        <c:manualLayout>
          <c:xMode val="edge"/>
          <c:yMode val="edge"/>
          <c:x val="0.35667989417989415"/>
          <c:y val="0.49136822372866579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4218938933027179"/>
          <c:y val="0.13033328247269871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DONEGAL NORTH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3227513227513227"/>
                  <c:y val="-0.2975892059201778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-0.1388888888888889"/>
                  <c:y val="0.1038101881116898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-0.16534391534391535"/>
                  <c:y val="2.76827168297839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0.16534391534391535"/>
                  <c:y val="-6.920679207445996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2228315210598675"/>
                  <c:y val="-2.07620376223380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6534391534391535"/>
                  <c:y val="-0.110730867319135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9841269841269843"/>
                  <c:y val="-0.13841358414891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11243386243386243"/>
                  <c:y val="-0.2076203762233798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1.984126984126984E-2"/>
                  <c:y val="-0.1453342633563659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0.15873015873015861"/>
                  <c:y val="-0.110730867319135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501</c:v>
                </c:pt>
                <c:pt idx="1">
                  <c:v>0.18099999999999999</c:v>
                </c:pt>
                <c:pt idx="2">
                  <c:v>6.5000000000000002E-2</c:v>
                </c:pt>
                <c:pt idx="3">
                  <c:v>6.6000000000000003E-2</c:v>
                </c:pt>
                <c:pt idx="4">
                  <c:v>2E-3</c:v>
                </c:pt>
                <c:pt idx="5">
                  <c:v>4.9000000000000002E-2</c:v>
                </c:pt>
                <c:pt idx="6">
                  <c:v>0.105</c:v>
                </c:pt>
                <c:pt idx="7">
                  <c:v>0</c:v>
                </c:pt>
                <c:pt idx="8">
                  <c:v>0</c:v>
                </c:pt>
                <c:pt idx="9">
                  <c:v>3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YO</a:t>
            </a:r>
          </a:p>
        </c:rich>
      </c:tx>
      <c:layout>
        <c:manualLayout>
          <c:xMode val="edge"/>
          <c:yMode val="edge"/>
          <c:x val="0.43474982293879938"/>
          <c:y val="0.498288902936111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4218938933027179"/>
          <c:y val="0.13033328247269871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AYO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7.9365079365079361E-2"/>
                  <c:y val="-0.256065130675501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1904761904761904"/>
                  <c:y val="0.15225494256381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6.6137566137566134E-3"/>
                  <c:y val="0.1522549425638118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0.14550264550264549"/>
                  <c:y val="0.173016980186149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22381473149189685"/>
                  <c:y val="3.46033960372299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24705505561804775"/>
                  <c:y val="-2.07620376223379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7857142857142858"/>
                  <c:y val="-0.117651546526581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17195767195767203"/>
                  <c:y val="-0.13841358414891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0"/>
                  <c:y val="-0.173016980186149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0.13227513227513227"/>
                  <c:y val="-0.1245722257340279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33700000000000002</c:v>
                </c:pt>
                <c:pt idx="1">
                  <c:v>0.22700000000000001</c:v>
                </c:pt>
                <c:pt idx="2">
                  <c:v>7.4999999999999997E-2</c:v>
                </c:pt>
                <c:pt idx="3">
                  <c:v>7.5999999999999998E-2</c:v>
                </c:pt>
                <c:pt idx="4">
                  <c:v>1.4999999999999999E-2</c:v>
                </c:pt>
                <c:pt idx="5">
                  <c:v>3.9E-2</c:v>
                </c:pt>
                <c:pt idx="6">
                  <c:v>0.21299999999999999</c:v>
                </c:pt>
                <c:pt idx="7">
                  <c:v>0</c:v>
                </c:pt>
                <c:pt idx="8">
                  <c:v>0</c:v>
                </c:pt>
                <c:pt idx="9">
                  <c:v>1.7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800">
                <a:solidFill>
                  <a:schemeClr val="bg1">
                    <a:lumMod val="50000"/>
                  </a:schemeClr>
                </a:solidFill>
              </a:rPr>
              <a:t>L'FORD/</a:t>
            </a:r>
          </a:p>
          <a:p>
            <a:pPr>
              <a:defRPr sz="800">
                <a:solidFill>
                  <a:schemeClr val="bg1">
                    <a:lumMod val="50000"/>
                  </a:schemeClr>
                </a:solidFill>
              </a:defRPr>
            </a:pPr>
            <a:r>
              <a:rPr lang="en-US" sz="800">
                <a:solidFill>
                  <a:schemeClr val="bg1">
                    <a:lumMod val="50000"/>
                  </a:schemeClr>
                </a:solidFill>
              </a:rPr>
              <a:t>ROS/</a:t>
            </a:r>
          </a:p>
          <a:p>
            <a:pPr>
              <a:defRPr sz="800">
                <a:solidFill>
                  <a:schemeClr val="bg1">
                    <a:lumMod val="50000"/>
                  </a:schemeClr>
                </a:solidFill>
              </a:defRPr>
            </a:pPr>
            <a:r>
              <a:rPr lang="en-US" sz="800">
                <a:solidFill>
                  <a:schemeClr val="bg1">
                    <a:lumMod val="50000"/>
                  </a:schemeClr>
                </a:solidFill>
              </a:rPr>
              <a:t>S LEITRIM</a:t>
            </a:r>
          </a:p>
        </c:rich>
      </c:tx>
      <c:layout>
        <c:manualLayout>
          <c:xMode val="edge"/>
          <c:yMode val="edge"/>
          <c:x val="0.38442434279048454"/>
          <c:y val="0.45676482769143578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4218951797691954"/>
          <c:y val="0.22977363384702579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'FORD/ROS/S LEITRIM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5211640211640212"/>
                  <c:y val="-0.18685833860104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9.7738824313627459E-2"/>
                  <c:y val="9.68895089042438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0.15211640211640212"/>
                  <c:y val="0.166096300978703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1.3227513227513287E-2"/>
                  <c:y val="0.1320334808291736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7857142857142858"/>
                  <c:y val="0.110730867319135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23148148148148148"/>
                  <c:y val="8.30481504893519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7857142857142858"/>
                  <c:y val="3.4603396037229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14550264550264552"/>
                  <c:y val="-0.15225494256381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0.1388888888888889"/>
                  <c:y val="-0.2283824138457178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0.11243386243386237"/>
                  <c:y val="-0.15917562177125794"/>
                </c:manualLayout>
              </c:layout>
              <c:tx>
                <c:rich>
                  <a:bodyPr/>
                  <a:lstStyle/>
                  <a:p>
                    <a:fld id="{90D2F9D5-8B09-4C6C-8BCB-46A7333CA30B}" type="VALUE">
                      <a:rPr lang="en-US">
                        <a:solidFill>
                          <a:srgbClr val="7F7F7F"/>
                        </a:solidFill>
                      </a:rPr>
                      <a:pPr/>
                      <a:t>[VALUE]</a:t>
                    </a:fld>
                    <a:endParaRPr lang="en-I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8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22800000000000001</c:v>
                </c:pt>
                <c:pt idx="1">
                  <c:v>0.20300000000000001</c:v>
                </c:pt>
                <c:pt idx="2">
                  <c:v>0.125</c:v>
                </c:pt>
                <c:pt idx="3">
                  <c:v>6.8000000000000005E-2</c:v>
                </c:pt>
                <c:pt idx="4">
                  <c:v>3.0000000000000001E-3</c:v>
                </c:pt>
                <c:pt idx="5">
                  <c:v>6.6000000000000003E-2</c:v>
                </c:pt>
                <c:pt idx="6">
                  <c:v>0.26700000000000002</c:v>
                </c:pt>
                <c:pt idx="7">
                  <c:v>0</c:v>
                </c:pt>
                <c:pt idx="8">
                  <c:v>0</c:v>
                </c:pt>
                <c:pt idx="9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chemeClr val="bg1">
                    <a:lumMod val="50000"/>
                  </a:schemeClr>
                </a:solidFill>
              </a:rPr>
              <a:t>CAVAN/</a:t>
            </a:r>
          </a:p>
          <a:p>
            <a:pPr>
              <a:defRPr>
                <a:solidFill>
                  <a:schemeClr val="bg1">
                    <a:lumMod val="50000"/>
                  </a:schemeClr>
                </a:solidFill>
              </a:defRPr>
            </a:pPr>
            <a:r>
              <a:rPr lang="en-US">
                <a:solidFill>
                  <a:schemeClr val="bg1">
                    <a:lumMod val="50000"/>
                  </a:schemeClr>
                </a:solidFill>
              </a:rPr>
              <a:t>MON.</a:t>
            </a:r>
          </a:p>
        </c:rich>
      </c:tx>
      <c:layout>
        <c:manualLayout>
          <c:xMode val="edge"/>
          <c:yMode val="edge"/>
          <c:x val="0.38624338624338622"/>
          <c:y val="0.449844148483989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4218938933027179"/>
          <c:y val="0.13033328247269871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AVAN /MON.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7.9365079365079361E-2"/>
                  <c:y val="-0.179937659393595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1275231221097363"/>
                  <c:y val="0.164453048368463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8974867724867722"/>
                      <c:h val="8.439795540248924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-0.19179894179894183"/>
                  <c:y val="0.200699697015933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0.15211640211640212"/>
                  <c:y val="0.166096300978703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7857142857142858"/>
                  <c:y val="3.46033960372299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6534391534391535"/>
                  <c:y val="-2.07620376223379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7195767195767195"/>
                  <c:y val="-8.99688296967979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22486772486772486"/>
                  <c:y val="-0.103810188111689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0.15211640211640212"/>
                  <c:y val="-0.173016980186149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4.6296296296296238E-2"/>
                  <c:y val="-0.193779017808487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15</c:v>
                </c:pt>
                <c:pt idx="1">
                  <c:v>0.24199999999999999</c:v>
                </c:pt>
                <c:pt idx="2">
                  <c:v>0.10199999999999999</c:v>
                </c:pt>
                <c:pt idx="3">
                  <c:v>0.16400000000000001</c:v>
                </c:pt>
                <c:pt idx="4">
                  <c:v>1.7000000000000001E-2</c:v>
                </c:pt>
                <c:pt idx="5">
                  <c:v>5.0999999999999997E-2</c:v>
                </c:pt>
                <c:pt idx="6">
                  <c:v>0.17100000000000001</c:v>
                </c:pt>
                <c:pt idx="7">
                  <c:v>0</c:v>
                </c:pt>
                <c:pt idx="8">
                  <c:v>0</c:v>
                </c:pt>
                <c:pt idx="9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rgbClr val="6E6E71"/>
                </a:solidFill>
                <a:latin typeface="+mn-lt"/>
                <a:ea typeface="+mn-ea"/>
                <a:cs typeface="+mn-cs"/>
              </a:defRPr>
            </a:pPr>
            <a:r>
              <a:rPr lang="en-US" sz="1000" dirty="0">
                <a:solidFill>
                  <a:srgbClr val="6E6E71"/>
                </a:solidFill>
              </a:rPr>
              <a:t>CLARE</a:t>
            </a:r>
          </a:p>
        </c:rich>
      </c:tx>
      <c:layout>
        <c:manualLayout>
          <c:xMode val="edge"/>
          <c:yMode val="edge"/>
          <c:x val="0.43139373759538663"/>
          <c:y val="0.3986698127602066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rgbClr val="6E6E7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835410138201925"/>
          <c:y val="6.0473598750529739E-2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LAR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5625888316689196"/>
                  <c:y val="-0.1524571135863286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5397291286414089"/>
                  <c:y val="5.53654336595679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0.13470593376456202"/>
                  <c:y val="0.117651546526581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2.1552949402330022E-2"/>
                  <c:y val="0.13841358414891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4548240846572705"/>
                  <c:y val="0.13841358414891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7781183256922189"/>
                  <c:y val="8.99688296967979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4548240846572699"/>
                  <c:y val="-2.07620376223380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2101412566727168"/>
                  <c:y val="-6.92067920744599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9.6988272310484708E-2"/>
                  <c:y val="-0.145334263356365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1.6164712051747444E-2"/>
                  <c:y val="-0.131492904941473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24299999999999999</c:v>
                </c:pt>
                <c:pt idx="1">
                  <c:v>0.20699999999999999</c:v>
                </c:pt>
                <c:pt idx="2">
                  <c:v>0.27100000000000002</c:v>
                </c:pt>
                <c:pt idx="3">
                  <c:v>5.0999999999999997E-2</c:v>
                </c:pt>
                <c:pt idx="4">
                  <c:v>4.0000000000000001E-3</c:v>
                </c:pt>
                <c:pt idx="5">
                  <c:v>3.2000000000000001E-2</c:v>
                </c:pt>
                <c:pt idx="6">
                  <c:v>9.6000000000000002E-2</c:v>
                </c:pt>
                <c:pt idx="7">
                  <c:v>0</c:v>
                </c:pt>
                <c:pt idx="8">
                  <c:v>0.08</c:v>
                </c:pt>
                <c:pt idx="9">
                  <c:v>1.7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42277298210511216"/>
          <c:y val="0.40139939403186781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835410138201925"/>
          <c:y val="6.0473598750529739E-2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GALWAY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21014125667271677"/>
                  <c:y val="-0.110730867319135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3733726038253941"/>
                  <c:y val="-4.15240752446760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0.14548240846572699"/>
                  <c:y val="0.131492904941473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4.8494136155242229E-2"/>
                  <c:y val="0.1453342633563658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3470593376456202"/>
                  <c:y val="0.131492904941473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25863539282795911"/>
                  <c:y val="2.76827168297838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6164712051747443"/>
                  <c:y val="3.46033960372299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18320006991980436"/>
                  <c:y val="2.07620376223379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0.2101412566727168"/>
                  <c:y val="-0.173016980186149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-7.0047085557572303E-2"/>
                  <c:y val="-0.13841358414891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249</c:v>
                </c:pt>
                <c:pt idx="1">
                  <c:v>0.08</c:v>
                </c:pt>
                <c:pt idx="2">
                  <c:v>0.14099999999999999</c:v>
                </c:pt>
                <c:pt idx="3">
                  <c:v>6.5000000000000002E-2</c:v>
                </c:pt>
                <c:pt idx="4">
                  <c:v>3.5000000000000003E-2</c:v>
                </c:pt>
                <c:pt idx="5">
                  <c:v>0.104</c:v>
                </c:pt>
                <c:pt idx="6">
                  <c:v>0.19500000000000001</c:v>
                </c:pt>
                <c:pt idx="7">
                  <c:v>0</c:v>
                </c:pt>
                <c:pt idx="8">
                  <c:v>0.11799999999999999</c:v>
                </c:pt>
                <c:pt idx="9">
                  <c:v>1.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6E6E71"/>
                </a:solidFill>
                <a:latin typeface="+mn-lt"/>
                <a:ea typeface="+mn-ea"/>
                <a:cs typeface="+mn-cs"/>
              </a:defRPr>
            </a:pPr>
            <a:r>
              <a:rPr lang="en-US" sz="900" dirty="0">
                <a:solidFill>
                  <a:srgbClr val="6E6E71"/>
                </a:solidFill>
              </a:rPr>
              <a:t>WATERFORD</a:t>
            </a:r>
          </a:p>
        </c:rich>
      </c:tx>
      <c:layout>
        <c:manualLayout>
          <c:xMode val="edge"/>
          <c:yMode val="edge"/>
          <c:x val="0.38289960144014429"/>
          <c:y val="0.4747972840421126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rgbClr val="6E6E7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835410138201925"/>
          <c:y val="0.11649192405780673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ATERFORD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0776474701164962"/>
                  <c:y val="-0.17301698018614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24785891812679403"/>
                  <c:y val="8.99688296967980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-0.13470593376456202"/>
                  <c:y val="0.15225494256381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0.14009417111514452"/>
                  <c:y val="8.30481504893518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5625888316689196"/>
                  <c:y val="-7.61274712819060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5087064581630946"/>
                  <c:y val="-0.145334263356365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4009417111514452"/>
                  <c:y val="-0.1245722257340279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7.0047085557572261E-2"/>
                  <c:y val="-0.1176515465265819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8.0823560258737215E-2"/>
                  <c:y val="-0.2023170651960677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0.11854122171281459"/>
                  <c:y val="-0.18685833860104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39800000000000002</c:v>
                </c:pt>
                <c:pt idx="1">
                  <c:v>0.20300000000000001</c:v>
                </c:pt>
                <c:pt idx="2">
                  <c:v>5.3999999999999999E-2</c:v>
                </c:pt>
                <c:pt idx="3">
                  <c:v>0.1</c:v>
                </c:pt>
                <c:pt idx="4">
                  <c:v>1.4E-2</c:v>
                </c:pt>
                <c:pt idx="5">
                  <c:v>3.5000000000000003E-2</c:v>
                </c:pt>
                <c:pt idx="6">
                  <c:v>0.14799999999999999</c:v>
                </c:pt>
                <c:pt idx="7">
                  <c:v>0</c:v>
                </c:pt>
                <c:pt idx="8">
                  <c:v>0</c:v>
                </c:pt>
                <c:pt idx="9">
                  <c:v>4.10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rgbClr val="6E6E71"/>
                </a:solidFill>
                <a:latin typeface="+mn-lt"/>
                <a:ea typeface="+mn-ea"/>
                <a:cs typeface="+mn-cs"/>
              </a:defRPr>
            </a:pPr>
            <a:r>
              <a:rPr lang="en-US" sz="1000" dirty="0">
                <a:solidFill>
                  <a:srgbClr val="6E6E71"/>
                </a:solidFill>
              </a:rPr>
              <a:t>KERRY</a:t>
            </a:r>
          </a:p>
        </c:rich>
      </c:tx>
      <c:layout>
        <c:manualLayout>
          <c:xMode val="edge"/>
          <c:yMode val="edge"/>
          <c:x val="0.43139373759538663"/>
          <c:y val="0.3986698127602066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rgbClr val="6E6E7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835410138201925"/>
          <c:y val="6.0473598750529739E-2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KERRY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3100459654830363"/>
                  <c:y val="-0.15225494256381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-0.19397654462096933"/>
                  <c:y val="0.159175621771257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-0.12392945906339707"/>
                  <c:y val="0.124572225734027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0.14009417111514455"/>
                  <c:y val="0.103810188111689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993647819715518"/>
                  <c:y val="2.76827168297839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5625888316689196"/>
                  <c:y val="-6.920679207445933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21014125667271677"/>
                  <c:y val="-8.99688296967979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1724235952186394"/>
                  <c:y val="-8.99688296967979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9.1600034959902182E-2"/>
                  <c:y val="-0.131492904941473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7.5435322908154731E-2"/>
                  <c:y val="-0.131492904941473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42199999999999999</c:v>
                </c:pt>
                <c:pt idx="1">
                  <c:v>0.16</c:v>
                </c:pt>
                <c:pt idx="2">
                  <c:v>0.11</c:v>
                </c:pt>
                <c:pt idx="3">
                  <c:v>2.7E-2</c:v>
                </c:pt>
                <c:pt idx="4">
                  <c:v>3.0000000000000001E-3</c:v>
                </c:pt>
                <c:pt idx="5">
                  <c:v>4.2999999999999997E-2</c:v>
                </c:pt>
                <c:pt idx="6">
                  <c:v>0.16900000000000001</c:v>
                </c:pt>
                <c:pt idx="7">
                  <c:v>0</c:v>
                </c:pt>
                <c:pt idx="8">
                  <c:v>0</c:v>
                </c:pt>
                <c:pt idx="9">
                  <c:v>5.70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gradFill flip="none" rotWithShape="1">
                <a:gsLst>
                  <a:gs pos="0">
                    <a:srgbClr val="F0F3F7"/>
                  </a:gs>
                  <a:gs pos="46000">
                    <a:srgbClr val="3D5A98"/>
                  </a:gs>
                </a:gsLst>
                <a:lin ang="0" scaled="1"/>
                <a:tileRect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061-1D47-A7C7-B24FF2EFCB60}"/>
              </c:ext>
            </c:extLst>
          </c:dPt>
          <c:dPt>
            <c:idx val="1"/>
            <c:bubble3D val="0"/>
            <c:spPr>
              <a:gradFill flip="none" rotWithShape="1">
                <a:gsLst>
                  <a:gs pos="0">
                    <a:srgbClr val="F0F3F7"/>
                  </a:gs>
                  <a:gs pos="81000">
                    <a:srgbClr val="2F2F2F"/>
                  </a:gs>
                </a:gsLst>
                <a:lin ang="0" scaled="1"/>
                <a:tileRect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3061-1D47-A7C7-B24FF2EFCB60}"/>
              </c:ext>
            </c:extLst>
          </c:dPt>
          <c:dPt>
            <c:idx val="2"/>
            <c:bubble3D val="0"/>
            <c:spPr>
              <a:gradFill>
                <a:gsLst>
                  <a:gs pos="0">
                    <a:srgbClr val="F0F3F7"/>
                  </a:gs>
                  <a:gs pos="46000">
                    <a:srgbClr val="952990"/>
                  </a:gs>
                </a:gsLst>
                <a:lin ang="0" scaled="1"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061-1D47-A7C7-B24FF2EFCB60}"/>
              </c:ext>
            </c:extLst>
          </c:dPt>
          <c:dPt>
            <c:idx val="3"/>
            <c:bubble3D val="0"/>
            <c:spPr>
              <a:solidFill>
                <a:srgbClr val="FFFC0D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61-1D47-A7C7-B24FF2EFCB60}"/>
              </c:ext>
            </c:extLst>
          </c:dPt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B$2:$B$5</c:f>
              <c:numCache>
                <c:formatCode>#,##0</c:formatCode>
                <c:ptCount val="4"/>
                <c:pt idx="0">
                  <c:v>35</c:v>
                </c:pt>
                <c:pt idx="1">
                  <c:v>21</c:v>
                </c:pt>
                <c:pt idx="2">
                  <c:v>35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61-1D47-A7C7-B24FF2EFCB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
Group</c:v>
                </c:pt>
                <c:pt idx="2">
                  <c:v>IRS
Plus</c:v>
                </c:pt>
                <c:pt idx="3">
                  <c:v>Onic 
Urban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691</c:v>
                </c:pt>
                <c:pt idx="1">
                  <c:v>983</c:v>
                </c:pt>
                <c:pt idx="2">
                  <c:v>477</c:v>
                </c:pt>
                <c:pt idx="3">
                  <c:v>3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
Group</c:v>
                </c:pt>
                <c:pt idx="2">
                  <c:v>IRS
Plus</c:v>
                </c:pt>
                <c:pt idx="3">
                  <c:v>Onic 
Urban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691</c:v>
                </c:pt>
                <c:pt idx="1">
                  <c:v>997</c:v>
                </c:pt>
                <c:pt idx="2">
                  <c:v>503</c:v>
                </c:pt>
                <c:pt idx="3">
                  <c:v>3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3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1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gradFill>
                <a:gsLst>
                  <a:gs pos="0">
                    <a:srgbClr val="F0F3F7"/>
                  </a:gs>
                  <a:gs pos="46000">
                    <a:srgbClr val="3D5A98"/>
                  </a:gs>
                </a:gsLst>
                <a:lin ang="0" scaled="1"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232-7341-B32F-EE3494D15D04}"/>
              </c:ext>
            </c:extLst>
          </c:dPt>
          <c:dPt>
            <c:idx val="1"/>
            <c:bubble3D val="0"/>
            <c:spPr>
              <a:gradFill>
                <a:gsLst>
                  <a:gs pos="0">
                    <a:srgbClr val="F0F3F7"/>
                  </a:gs>
                  <a:gs pos="46000">
                    <a:srgbClr val="2E2E2E"/>
                  </a:gs>
                </a:gsLst>
                <a:lin ang="0" scaled="1"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9232-7341-B32F-EE3494D15D04}"/>
              </c:ext>
            </c:extLst>
          </c:dPt>
          <c:dPt>
            <c:idx val="2"/>
            <c:bubble3D val="0"/>
            <c:spPr>
              <a:gradFill>
                <a:gsLst>
                  <a:gs pos="0">
                    <a:srgbClr val="F0F3F7"/>
                  </a:gs>
                  <a:gs pos="46000">
                    <a:srgbClr val="952990"/>
                  </a:gs>
                </a:gsLst>
                <a:lin ang="0" scaled="1"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9232-7341-B32F-EE3494D15D04}"/>
              </c:ext>
            </c:extLst>
          </c:dPt>
          <c:dPt>
            <c:idx val="3"/>
            <c:bubble3D val="0"/>
            <c:spPr>
              <a:solidFill>
                <a:srgbClr val="FFFC0D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232-7341-B32F-EE3494D15D04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68</c:v>
                </c:pt>
                <c:pt idx="1">
                  <c:v>19</c:v>
                </c:pt>
                <c:pt idx="2">
                  <c:v>11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232-7341-B32F-EE3494D15D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4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gradFill>
                <a:gsLst>
                  <a:gs pos="0">
                    <a:srgbClr val="F0F3F7"/>
                  </a:gs>
                  <a:gs pos="46000">
                    <a:srgbClr val="3D5A98"/>
                  </a:gs>
                </a:gsLst>
                <a:lin ang="0" scaled="1"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A33-BC41-ADB2-4E9F3F784EA4}"/>
              </c:ext>
            </c:extLst>
          </c:dPt>
          <c:dPt>
            <c:idx val="1"/>
            <c:bubble3D val="0"/>
            <c:spPr>
              <a:gradFill>
                <a:gsLst>
                  <a:gs pos="0">
                    <a:srgbClr val="F0F3F7"/>
                  </a:gs>
                  <a:gs pos="46000">
                    <a:schemeClr val="tx1"/>
                  </a:gs>
                </a:gsLst>
                <a:lin ang="0" scaled="1"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7A33-BC41-ADB2-4E9F3F784EA4}"/>
              </c:ext>
            </c:extLst>
          </c:dPt>
          <c:dPt>
            <c:idx val="2"/>
            <c:bubble3D val="0"/>
            <c:spPr>
              <a:gradFill>
                <a:gsLst>
                  <a:gs pos="0">
                    <a:srgbClr val="F0F3F7"/>
                  </a:gs>
                  <a:gs pos="46000">
                    <a:srgbClr val="952990"/>
                  </a:gs>
                </a:gsLst>
                <a:lin ang="0" scaled="1"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A33-BC41-ADB2-4E9F3F784EA4}"/>
              </c:ext>
            </c:extLst>
          </c:dPt>
          <c:dPt>
            <c:idx val="3"/>
            <c:bubble3D val="0"/>
            <c:spPr>
              <a:solidFill>
                <a:srgbClr val="FFFC0D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A33-BC41-ADB2-4E9F3F784EA4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33-BC41-ADB2-4E9F3F784E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4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gradFill>
                <a:gsLst>
                  <a:gs pos="0">
                    <a:srgbClr val="F0F3F7"/>
                  </a:gs>
                  <a:gs pos="46000">
                    <a:srgbClr val="3D5A98"/>
                  </a:gs>
                </a:gsLst>
                <a:lin ang="0" scaled="1"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1D6-EE45-85F8-313484254897}"/>
              </c:ext>
            </c:extLst>
          </c:dPt>
          <c:dPt>
            <c:idx val="1"/>
            <c:bubble3D val="0"/>
            <c:spPr>
              <a:gradFill>
                <a:gsLst>
                  <a:gs pos="0">
                    <a:srgbClr val="F0F3F7"/>
                  </a:gs>
                  <a:gs pos="46000">
                    <a:srgbClr val="2E2E2E"/>
                  </a:gs>
                </a:gsLst>
                <a:lin ang="0" scaled="1"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21D6-EE45-85F8-313484254897}"/>
              </c:ext>
            </c:extLst>
          </c:dPt>
          <c:dPt>
            <c:idx val="2"/>
            <c:bubble3D val="0"/>
            <c:spPr>
              <a:gradFill>
                <a:gsLst>
                  <a:gs pos="0">
                    <a:srgbClr val="F0F3F7"/>
                  </a:gs>
                  <a:gs pos="46000">
                    <a:srgbClr val="952990"/>
                  </a:gs>
                </a:gsLst>
                <a:lin ang="0" scaled="1"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1D6-EE45-85F8-313484254897}"/>
              </c:ext>
            </c:extLst>
          </c:dPt>
          <c:dPt>
            <c:idx val="3"/>
            <c:bubble3D val="0"/>
            <c:spPr>
              <a:solidFill>
                <a:srgbClr val="FFFC0D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21D6-EE45-85F8-313484254897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64</c:v>
                </c:pt>
                <c:pt idx="1">
                  <c:v>12</c:v>
                </c:pt>
                <c:pt idx="2">
                  <c:v>18</c:v>
                </c:pt>
                <c:pt idx="3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D6-EE45-85F8-3134842548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gradFill>
                <a:gsLst>
                  <a:gs pos="0">
                    <a:srgbClr val="F0F3F7"/>
                  </a:gs>
                  <a:gs pos="46000">
                    <a:srgbClr val="3D5A98"/>
                  </a:gs>
                </a:gsLst>
                <a:lin ang="0" scaled="1"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06-C043-90EF-4914DED2E0C9}"/>
              </c:ext>
            </c:extLst>
          </c:dPt>
          <c:dPt>
            <c:idx val="1"/>
            <c:bubble3D val="0"/>
            <c:spPr>
              <a:gradFill>
                <a:gsLst>
                  <a:gs pos="0">
                    <a:srgbClr val="F0F3F7"/>
                  </a:gs>
                  <a:gs pos="46000">
                    <a:srgbClr val="2E2E2E"/>
                  </a:gs>
                </a:gsLst>
                <a:lin ang="0" scaled="1"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6E06-C043-90EF-4914DED2E0C9}"/>
              </c:ext>
            </c:extLst>
          </c:dPt>
          <c:dPt>
            <c:idx val="2"/>
            <c:bubble3D val="0"/>
            <c:spPr>
              <a:gradFill>
                <a:gsLst>
                  <a:gs pos="0">
                    <a:srgbClr val="F0F3F7"/>
                  </a:gs>
                  <a:gs pos="46000">
                    <a:srgbClr val="952990"/>
                  </a:gs>
                </a:gsLst>
                <a:lin ang="0" scaled="1"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06-C043-90EF-4914DED2E0C9}"/>
              </c:ext>
            </c:extLst>
          </c:dPt>
          <c:dPt>
            <c:idx val="3"/>
            <c:bubble3D val="0"/>
            <c:spPr>
              <a:solidFill>
                <a:srgbClr val="FFFC0D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6E06-C043-90EF-4914DED2E0C9}"/>
              </c:ext>
            </c:extLst>
          </c:dPt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52</c:v>
                </c:pt>
                <c:pt idx="1">
                  <c:v>19</c:v>
                </c:pt>
                <c:pt idx="2">
                  <c:v>18</c:v>
                </c:pt>
                <c:pt idx="3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06-C043-90EF-4914DED2E0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RTE Radio 1</c:v>
                </c:pt>
                <c:pt idx="1">
                  <c:v>Today FM</c:v>
                </c:pt>
                <c:pt idx="2">
                  <c:v>Newstalk</c:v>
                </c:pt>
                <c:pt idx="3">
                  <c:v>RTE 2FM</c:v>
                </c:pt>
                <c:pt idx="4">
                  <c:v>RTE Lyric FM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984</c:v>
                </c:pt>
                <c:pt idx="1">
                  <c:v>389</c:v>
                </c:pt>
                <c:pt idx="2">
                  <c:v>502</c:v>
                </c:pt>
                <c:pt idx="3">
                  <c:v>258</c:v>
                </c:pt>
                <c:pt idx="4">
                  <c:v>2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RTE Radio 1</c:v>
                </c:pt>
                <c:pt idx="1">
                  <c:v>Today FM</c:v>
                </c:pt>
                <c:pt idx="2">
                  <c:v>Newstalk</c:v>
                </c:pt>
                <c:pt idx="3">
                  <c:v>RTE 2FM</c:v>
                </c:pt>
                <c:pt idx="4">
                  <c:v>RTE Lyric FM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975</c:v>
                </c:pt>
                <c:pt idx="1">
                  <c:v>401</c:v>
                </c:pt>
                <c:pt idx="2">
                  <c:v>486</c:v>
                </c:pt>
                <c:pt idx="3">
                  <c:v>229</c:v>
                </c:pt>
                <c:pt idx="4">
                  <c:v>2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3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
Group</c:v>
                </c:pt>
                <c:pt idx="2">
                  <c:v>IRS
Plus</c:v>
                </c:pt>
                <c:pt idx="3">
                  <c:v>Onic 
Urban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 formatCode="#,##0">
                  <c:v>1189</c:v>
                </c:pt>
                <c:pt idx="1">
                  <c:v>992</c:v>
                </c:pt>
                <c:pt idx="2">
                  <c:v>793</c:v>
                </c:pt>
                <c:pt idx="3">
                  <c:v>4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
Group</c:v>
                </c:pt>
                <c:pt idx="2">
                  <c:v>IRS
Plus</c:v>
                </c:pt>
                <c:pt idx="3">
                  <c:v>Onic 
Urban</c:v>
                </c:pt>
              </c:strCache>
            </c:strRef>
          </c:cat>
          <c:val>
            <c:numRef>
              <c:f>Sheet1!$C$2:$C$5</c:f>
              <c:numCache>
                <c:formatCode>#,##0</c:formatCode>
                <c:ptCount val="4"/>
                <c:pt idx="0">
                  <c:v>1187</c:v>
                </c:pt>
                <c:pt idx="1">
                  <c:v>1015</c:v>
                </c:pt>
                <c:pt idx="2" formatCode="General">
                  <c:v>834</c:v>
                </c:pt>
                <c:pt idx="3" formatCode="General">
                  <c:v>5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3000"/>
          <c:min val="0"/>
        </c:scaling>
        <c:delete val="1"/>
        <c:axPos val="l"/>
        <c:numFmt formatCode="#,##0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RTE Radio 1</c:v>
                </c:pt>
                <c:pt idx="1">
                  <c:v>Today FM</c:v>
                </c:pt>
                <c:pt idx="2">
                  <c:v>Newstalk</c:v>
                </c:pt>
                <c:pt idx="3">
                  <c:v>RTE 2FM</c:v>
                </c:pt>
                <c:pt idx="4">
                  <c:v>RTE Lyric FM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24</c:v>
                </c:pt>
                <c:pt idx="1">
                  <c:v>461</c:v>
                </c:pt>
                <c:pt idx="2">
                  <c:v>385</c:v>
                </c:pt>
                <c:pt idx="3">
                  <c:v>328</c:v>
                </c:pt>
                <c:pt idx="4">
                  <c:v>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RTE Radio 1</c:v>
                </c:pt>
                <c:pt idx="1">
                  <c:v>Today FM</c:v>
                </c:pt>
                <c:pt idx="2">
                  <c:v>Newstalk</c:v>
                </c:pt>
                <c:pt idx="3">
                  <c:v>RTE 2FM</c:v>
                </c:pt>
                <c:pt idx="4">
                  <c:v>RTE Lyric FM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444</c:v>
                </c:pt>
                <c:pt idx="1">
                  <c:v>439</c:v>
                </c:pt>
                <c:pt idx="2">
                  <c:v>364</c:v>
                </c:pt>
                <c:pt idx="3">
                  <c:v>282</c:v>
                </c:pt>
                <c:pt idx="4">
                  <c:v>1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3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6.8360006594676198E-2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ll Adult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E75-4560-9BF6-300A49855CA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E75-4560-9BF6-300A49855CA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E75-4560-9BF6-300A49855CA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E75-4560-9BF6-300A49855CA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E75-4560-9BF6-300A49855CA5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E75-4560-9BF6-300A49855CA5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3E75-4560-9BF6-300A49855CA5}"/>
                </c:ext>
              </c:extLst>
            </c:dLbl>
            <c:dLbl>
              <c:idx val="4"/>
              <c:layout>
                <c:manualLayout>
                  <c:x val="-2.0239573716784844E-2"/>
                  <c:y val="1.07650883945141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E75-4560-9BF6-300A49855CA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RTE Radio 1</c:v>
                </c:pt>
                <c:pt idx="1">
                  <c:v>Today FM</c:v>
                </c:pt>
                <c:pt idx="2">
                  <c:v>RTE 2FM</c:v>
                </c:pt>
                <c:pt idx="3">
                  <c:v>Newstalk</c:v>
                </c:pt>
                <c:pt idx="4">
                  <c:v>RTE Lyric FM</c:v>
                </c:pt>
                <c:pt idx="5">
                  <c:v>Regional/ Local</c:v>
                </c:pt>
              </c:strCache>
            </c:strRef>
          </c:cat>
          <c:val>
            <c:numRef>
              <c:f>Sheet1!$B$2:$B$7</c:f>
              <c:numCache>
                <c:formatCode>0.0</c:formatCode>
                <c:ptCount val="6"/>
                <c:pt idx="0" formatCode="General">
                  <c:v>20.100000000000001</c:v>
                </c:pt>
                <c:pt idx="1">
                  <c:v>8.8000000000000007</c:v>
                </c:pt>
                <c:pt idx="2" formatCode="General">
                  <c:v>5.3</c:v>
                </c:pt>
                <c:pt idx="3" formatCode="General">
                  <c:v>7.6</c:v>
                </c:pt>
                <c:pt idx="4">
                  <c:v>3</c:v>
                </c:pt>
                <c:pt idx="5">
                  <c:v>54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E75-4560-9BF6-300A49855CA5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3E75-4560-9BF6-300A49855CA5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3E75-4560-9BF6-300A49855CA5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3E75-4560-9BF6-300A49855CA5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3E75-4560-9BF6-300A49855CA5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3E75-4560-9BF6-300A49855CA5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3E75-4560-9BF6-300A49855CA5}"/>
              </c:ext>
            </c:extLst>
          </c:dPt>
          <c:dLbls>
            <c:dLbl>
              <c:idx val="0"/>
              <c:layout>
                <c:manualLayout>
                  <c:x val="5.3961572129947628E-2"/>
                  <c:y val="5.3321093343064539E-3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3E75-4560-9BF6-300A49855CA5}"/>
                </c:ext>
              </c:extLst>
            </c:dLbl>
            <c:dLbl>
              <c:idx val="1"/>
              <c:layout>
                <c:manualLayout>
                  <c:x val="4.8406731195011259E-2"/>
                  <c:y val="-1.6710044887028076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3E75-4560-9BF6-300A49855CA5}"/>
                </c:ext>
              </c:extLst>
            </c:dLbl>
            <c:dLbl>
              <c:idx val="2"/>
              <c:layout>
                <c:manualLayout>
                  <c:x val="5.3349831583524562E-2"/>
                  <c:y val="-3.2663143007418259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3E75-4560-9BF6-300A49855CA5}"/>
                </c:ext>
              </c:extLst>
            </c:dLbl>
            <c:dLbl>
              <c:idx val="3"/>
              <c:layout>
                <c:manualLayout>
                  <c:x val="5.8410408012958791E-2"/>
                  <c:y val="-6.307833212332043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3E75-4560-9BF6-300A49855CA5}"/>
                </c:ext>
              </c:extLst>
            </c:dLbl>
            <c:dLbl>
              <c:idx val="4"/>
              <c:layout>
                <c:manualLayout>
                  <c:x val="9.3111145767049E-2"/>
                  <c:y val="-3.8706850113944646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3E75-4560-9BF6-300A49855CA5}"/>
                </c:ext>
              </c:extLst>
            </c:dLbl>
            <c:dLbl>
              <c:idx val="5"/>
              <c:layout>
                <c:manualLayout>
                  <c:x val="-5.8031342880917769E-2"/>
                  <c:y val="-1.512113479289293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3E75-4560-9BF6-300A49855CA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b" anchorCtr="0"/>
              <a:lstStyle/>
              <a:p>
                <a:pPr>
                  <a:defRPr sz="900" b="1" i="0" u="none" strike="noStrike" kern="1200" cap="none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RTE Radio 1</c:v>
                </c:pt>
                <c:pt idx="1">
                  <c:v>Today FM</c:v>
                </c:pt>
                <c:pt idx="2">
                  <c:v>RTE 2FM</c:v>
                </c:pt>
                <c:pt idx="3">
                  <c:v>Newstalk</c:v>
                </c:pt>
                <c:pt idx="4">
                  <c:v>RTE Lyric FM</c:v>
                </c:pt>
                <c:pt idx="5">
                  <c:v>Regional/ Local</c:v>
                </c:pt>
              </c:strCache>
            </c:strRef>
          </c:cat>
          <c:val>
            <c:numRef>
              <c:f>Sheet1!$GF$2:$GF$7</c:f>
              <c:numCache>
                <c:formatCode>General</c:formatCode>
                <c:ptCount val="6"/>
                <c:pt idx="0">
                  <c:v>20.100000000000001</c:v>
                </c:pt>
                <c:pt idx="1">
                  <c:v>8.8000000000000007</c:v>
                </c:pt>
                <c:pt idx="2">
                  <c:v>5.3</c:v>
                </c:pt>
                <c:pt idx="3">
                  <c:v>7.6</c:v>
                </c:pt>
                <c:pt idx="4">
                  <c:v>3</c:v>
                </c:pt>
                <c:pt idx="5">
                  <c:v>54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3E75-4560-9BF6-300A49855CA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6.8360006594676198E-2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HKWK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D51-439A-A726-83FC4C8C6C0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D51-439A-A726-83FC4C8C6C0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D51-439A-A726-83FC4C8C6C0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D51-439A-A726-83FC4C8C6C0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D51-439A-A726-83FC4C8C6C02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D51-439A-A726-83FC4C8C6C02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3D51-439A-A726-83FC4C8C6C02}"/>
                </c:ext>
              </c:extLst>
            </c:dLbl>
            <c:dLbl>
              <c:idx val="4"/>
              <c:layout>
                <c:manualLayout>
                  <c:x val="-1.4456838369132032E-2"/>
                  <c:y val="1.07650883945142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D51-439A-A726-83FC4C8C6C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RTE Radio 1</c:v>
                </c:pt>
                <c:pt idx="1">
                  <c:v>Today FM</c:v>
                </c:pt>
                <c:pt idx="2">
                  <c:v>RTE 2FM</c:v>
                </c:pt>
                <c:pt idx="3">
                  <c:v>Newstalk</c:v>
                </c:pt>
                <c:pt idx="4">
                  <c:v>RTE Lyric FM</c:v>
                </c:pt>
                <c:pt idx="5">
                  <c:v>Regional/ Local</c:v>
                </c:pt>
              </c:strCache>
            </c:strRef>
          </c:cat>
          <c:val>
            <c:numRef>
              <c:f>Sheet1!$B$2:$B$7</c:f>
              <c:numCache>
                <c:formatCode>0.0</c:formatCode>
                <c:ptCount val="6"/>
                <c:pt idx="0" formatCode="General">
                  <c:v>12.8</c:v>
                </c:pt>
                <c:pt idx="1">
                  <c:v>13.7</c:v>
                </c:pt>
                <c:pt idx="2">
                  <c:v>6.8</c:v>
                </c:pt>
                <c:pt idx="3" formatCode="General">
                  <c:v>8.3000000000000007</c:v>
                </c:pt>
                <c:pt idx="4">
                  <c:v>2.5</c:v>
                </c:pt>
                <c:pt idx="5">
                  <c:v>5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D51-439A-A726-83FC4C8C6C02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3D51-439A-A726-83FC4C8C6C02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3D51-439A-A726-83FC4C8C6C02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3D51-439A-A726-83FC4C8C6C02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3D51-439A-A726-83FC4C8C6C02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3D51-439A-A726-83FC4C8C6C02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3D51-439A-A726-83FC4C8C6C02}"/>
              </c:ext>
            </c:extLst>
          </c:dPt>
          <c:dLbls>
            <c:dLbl>
              <c:idx val="0"/>
              <c:layout>
                <c:manualLayout>
                  <c:x val="5.3961572129947628E-2"/>
                  <c:y val="5.3321093343064539E-3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3D51-439A-A726-83FC4C8C6C02}"/>
                </c:ext>
              </c:extLst>
            </c:dLbl>
            <c:dLbl>
              <c:idx val="1"/>
              <c:layout>
                <c:manualLayout>
                  <c:x val="4.8406731195011259E-2"/>
                  <c:y val="-1.6710044887028076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3D51-439A-A726-83FC4C8C6C02}"/>
                </c:ext>
              </c:extLst>
            </c:dLbl>
            <c:dLbl>
              <c:idx val="2"/>
              <c:layout>
                <c:manualLayout>
                  <c:x val="4.7567096235871749E-2"/>
                  <c:y val="-3.2663143007418162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3D51-439A-A726-83FC4C8C6C02}"/>
                </c:ext>
              </c:extLst>
            </c:dLbl>
            <c:dLbl>
              <c:idx val="3"/>
              <c:layout>
                <c:manualLayout>
                  <c:x val="7.8649981729743523E-2"/>
                  <c:y val="-7.922596471509176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3D51-439A-A726-83FC4C8C6C02}"/>
                </c:ext>
              </c:extLst>
            </c:dLbl>
            <c:dLbl>
              <c:idx val="4"/>
              <c:layout>
                <c:manualLayout>
                  <c:x val="9.3111145767049E-2"/>
                  <c:y val="-3.8706850113944646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3D51-439A-A726-83FC4C8C6C02}"/>
                </c:ext>
              </c:extLst>
            </c:dLbl>
            <c:dLbl>
              <c:idx val="5"/>
              <c:layout>
                <c:manualLayout>
                  <c:x val="-5.8031342880917769E-2"/>
                  <c:y val="-1.512113479289293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3D51-439A-A726-83FC4C8C6C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b" anchorCtr="0"/>
              <a:lstStyle/>
              <a:p>
                <a:pPr>
                  <a:defRPr sz="900" b="1" i="0" u="none" strike="noStrike" kern="1200" cap="none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RTE Radio 1</c:v>
                </c:pt>
                <c:pt idx="1">
                  <c:v>Today FM</c:v>
                </c:pt>
                <c:pt idx="2">
                  <c:v>RTE 2FM</c:v>
                </c:pt>
                <c:pt idx="3">
                  <c:v>Newstalk</c:v>
                </c:pt>
                <c:pt idx="4">
                  <c:v>RTE Lyric FM</c:v>
                </c:pt>
                <c:pt idx="5">
                  <c:v>Regional/ Local</c:v>
                </c:pt>
              </c:strCache>
            </c:strRef>
          </c:cat>
          <c:val>
            <c:numRef>
              <c:f>Sheet1!$GJ$2:$GJ$7</c:f>
              <c:numCache>
                <c:formatCode>General</c:formatCode>
                <c:ptCount val="6"/>
                <c:pt idx="0">
                  <c:v>12.8</c:v>
                </c:pt>
                <c:pt idx="1">
                  <c:v>13.7</c:v>
                </c:pt>
                <c:pt idx="2">
                  <c:v>6.8</c:v>
                </c:pt>
                <c:pt idx="3">
                  <c:v>8.3000000000000007</c:v>
                </c:pt>
                <c:pt idx="4">
                  <c:v>2.5</c:v>
                </c:pt>
                <c:pt idx="5">
                  <c:v>5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3D51-439A-A726-83FC4C8C6C02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0.11142036017273305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ll Adult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3E0-45C8-87F5-602DD016FF4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3E0-45C8-87F5-602DD016FF4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3E0-45C8-87F5-602DD016FF4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3E0-45C8-87F5-602DD016FF4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3E0-45C8-87F5-602DD016FF4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3E0-45C8-87F5-602DD016FF48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83E0-45C8-87F5-602DD016FF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E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 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29</c:v>
                </c:pt>
                <c:pt idx="1">
                  <c:v>32.1</c:v>
                </c:pt>
                <c:pt idx="2">
                  <c:v>20.6</c:v>
                </c:pt>
                <c:pt idx="3">
                  <c:v>13.6</c:v>
                </c:pt>
                <c:pt idx="4">
                  <c:v>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3E0-45C8-87F5-602DD016FF48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83E0-45C8-87F5-602DD016FF48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83E0-45C8-87F5-602DD016FF48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83E0-45C8-87F5-602DD016FF48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83E0-45C8-87F5-602DD016FF48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83E0-45C8-87F5-602DD016FF48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83E0-45C8-87F5-602DD016FF48}"/>
              </c:ext>
            </c:extLst>
          </c:dPt>
          <c:dLbls>
            <c:dLbl>
              <c:idx val="0"/>
              <c:layout>
                <c:manualLayout>
                  <c:x val="5.6852939803773928E-2"/>
                  <c:y val="6.4540095504134601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3E0-45C8-87F5-602DD016FF48}"/>
                </c:ext>
              </c:extLst>
            </c:dLbl>
            <c:dLbl>
              <c:idx val="1"/>
              <c:layout>
                <c:manualLayout>
                  <c:x val="0.1423375457854972"/>
                  <c:y val="-7.5918031056856294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3E0-45C8-87F5-602DD016FF48}"/>
                </c:ext>
              </c:extLst>
            </c:dLbl>
            <c:dLbl>
              <c:idx val="2"/>
              <c:layout>
                <c:manualLayout>
                  <c:x val="-4.6392461405959422E-2"/>
                  <c:y val="-3.8045687204675369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83E0-45C8-87F5-602DD016FF48}"/>
                </c:ext>
              </c:extLst>
            </c:dLbl>
            <c:dLbl>
              <c:idx val="3"/>
              <c:layout>
                <c:manualLayout>
                  <c:x val="-8.154155528023764E-2"/>
                  <c:y val="3.38074634273074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83E0-45C8-87F5-602DD016FF48}"/>
                </c:ext>
              </c:extLst>
            </c:dLbl>
            <c:dLbl>
              <c:idx val="4"/>
              <c:layout>
                <c:manualLayout>
                  <c:x val="-6.4931023206758018E-2"/>
                  <c:y val="4.2031312844911899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83E0-45C8-87F5-602DD016FF48}"/>
                </c:ext>
              </c:extLst>
            </c:dLbl>
            <c:dLbl>
              <c:idx val="5"/>
              <c:layout>
                <c:manualLayout>
                  <c:x val="-4.2832262729634786E-2"/>
                  <c:y val="3.3321762982421121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83E0-45C8-87F5-602DD016FF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b" anchorCtr="0"/>
              <a:lstStyle/>
              <a:p>
                <a:pPr>
                  <a:defRPr sz="900" b="1" i="0" u="none" strike="noStrike" kern="1200" cap="none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E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 </c:v>
                </c:pt>
              </c:strCache>
            </c:strRef>
          </c:cat>
          <c:val>
            <c:numRef>
              <c:f>Sheet1!$GL$2:$GL$7</c:f>
              <c:numCache>
                <c:formatCode>General</c:formatCode>
                <c:ptCount val="6"/>
                <c:pt idx="0">
                  <c:v>29</c:v>
                </c:pt>
                <c:pt idx="1">
                  <c:v>32.1</c:v>
                </c:pt>
                <c:pt idx="2">
                  <c:v>20.6</c:v>
                </c:pt>
                <c:pt idx="3">
                  <c:v>13.6</c:v>
                </c:pt>
                <c:pt idx="4">
                  <c:v>4.8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83E0-45C8-87F5-602DD016FF48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275956300332244"/>
          <c:y val="0.11142036017273305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HWKK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D7D-4876-B426-B92483BD26A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D7D-4876-B426-B92483BD26A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D7D-4876-B426-B92483BD26A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D7D-4876-B426-B92483BD26A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D7D-4876-B426-B92483BD26A5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4D7D-4876-B426-B92483BD26A5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4D7D-4876-B426-B92483BD26A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E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 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22.6</c:v>
                </c:pt>
                <c:pt idx="1">
                  <c:v>44.5</c:v>
                </c:pt>
                <c:pt idx="2">
                  <c:v>14.3</c:v>
                </c:pt>
                <c:pt idx="3">
                  <c:v>13.4</c:v>
                </c:pt>
                <c:pt idx="4">
                  <c:v>5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D7D-4876-B426-B92483BD26A5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4D7D-4876-B426-B92483BD26A5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4D7D-4876-B426-B92483BD26A5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4D7D-4876-B426-B92483BD26A5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4D7D-4876-B426-B92483BD26A5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4D7D-4876-B426-B92483BD26A5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4D7D-4876-B426-B92483BD26A5}"/>
              </c:ext>
            </c:extLst>
          </c:dPt>
          <c:dLbls>
            <c:dLbl>
              <c:idx val="0"/>
              <c:layout>
                <c:manualLayout>
                  <c:x val="4.0140784989484771E-2"/>
                  <c:y val="6.4540095504134545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D7D-4876-B426-B92483BD26A5}"/>
                </c:ext>
              </c:extLst>
            </c:dLbl>
            <c:dLbl>
              <c:idx val="1"/>
              <c:layout>
                <c:manualLayout>
                  <c:x val="0.13398150749510315"/>
                  <c:y val="-7.591803105685619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4D7D-4876-B426-B92483BD26A5}"/>
                </c:ext>
              </c:extLst>
            </c:dLbl>
            <c:dLbl>
              <c:idx val="2"/>
              <c:layout>
                <c:manualLayout>
                  <c:x val="-6.310453798674745E-2"/>
                  <c:y val="-3.2663143007418162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4D7D-4876-B426-B92483BD26A5}"/>
                </c:ext>
              </c:extLst>
            </c:dLbl>
            <c:dLbl>
              <c:idx val="3"/>
              <c:layout>
                <c:manualLayout>
                  <c:x val="-9.5468285764227723E-2"/>
                  <c:y val="2.304237503279325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4D7D-4876-B426-B92483BD26A5}"/>
                </c:ext>
              </c:extLst>
            </c:dLbl>
            <c:dLbl>
              <c:idx val="4"/>
              <c:layout>
                <c:manualLayout>
                  <c:x val="-4.8218946625969906E-2"/>
                  <c:y val="4.3535034641122043E-3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4D7D-4876-B426-B92483BD26A5}"/>
                </c:ext>
              </c:extLst>
            </c:dLbl>
            <c:dLbl>
              <c:idx val="5"/>
              <c:layout>
                <c:manualLayout>
                  <c:x val="-2.0549493955250672E-2"/>
                  <c:y val="6.4090419961355879E-3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4D7D-4876-B426-B92483BD26A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b" anchorCtr="0"/>
              <a:lstStyle/>
              <a:p>
                <a:pPr>
                  <a:defRPr sz="900" b="1" i="0" u="none" strike="noStrike" kern="1200" cap="none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E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 </c:v>
                </c:pt>
              </c:strCache>
            </c:strRef>
          </c:cat>
          <c:val>
            <c:numRef>
              <c:f>Sheet1!$GL$2:$GL$7</c:f>
              <c:numCache>
                <c:formatCode>General</c:formatCode>
                <c:ptCount val="6"/>
                <c:pt idx="0">
                  <c:v>22.6</c:v>
                </c:pt>
                <c:pt idx="1">
                  <c:v>44.5</c:v>
                </c:pt>
                <c:pt idx="2">
                  <c:v>14.3</c:v>
                </c:pt>
                <c:pt idx="3">
                  <c:v>13.4</c:v>
                </c:pt>
                <c:pt idx="4">
                  <c:v>5.2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4D7D-4876-B426-B92483BD26A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842169331250662"/>
          <c:y val="0.1078403840356526"/>
          <c:w val="0.59032073225718495"/>
          <c:h val="0.8921596159643474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761-4D0E-9131-81366BD6C03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761-4D0E-9131-81366BD6C03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761-4D0E-9131-81366BD6C03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761-4D0E-9131-81366BD6C03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761-4D0E-9131-81366BD6C034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761-4D0E-9131-81366BD6C034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761-4D0E-9131-81366BD6C034}"/>
                </c:ext>
              </c:extLst>
            </c:dLbl>
            <c:dLbl>
              <c:idx val="1"/>
              <c:layout>
                <c:manualLayout>
                  <c:x val="-3.9223939574837254E-2"/>
                  <c:y val="-4.714510700918436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761-4D0E-9131-81366BD6C034}"/>
                </c:ext>
              </c:extLst>
            </c:dLbl>
            <c:dLbl>
              <c:idx val="2"/>
              <c:layout>
                <c:manualLayout>
                  <c:x val="3.9223939574837205E-2"/>
                  <c:y val="-3.5358830256888282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761-4D0E-9131-81366BD6C034}"/>
                </c:ext>
              </c:extLst>
            </c:dLbl>
            <c:dLbl>
              <c:idx val="3"/>
              <c:layout>
                <c:manualLayout>
                  <c:x val="1.6810259817787374E-2"/>
                  <c:y val="-3.9287589174320991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761-4D0E-9131-81366BD6C034}"/>
                </c:ext>
              </c:extLst>
            </c:dLbl>
            <c:dLbl>
              <c:idx val="4"/>
              <c:layout>
                <c:manualLayout>
                  <c:x val="1.9611969787418602E-2"/>
                  <c:y val="3.1430071339456217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761-4D0E-9131-81366BD6C034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am/fm (home/car)</c:v>
                </c:pt>
                <c:pt idx="1">
                  <c:v>PC/laptop</c:v>
                </c:pt>
                <c:pt idx="2">
                  <c:v>Mobile device</c:v>
                </c:pt>
                <c:pt idx="3">
                  <c:v>Smart Speaker</c:v>
                </c:pt>
                <c:pt idx="4">
                  <c:v>TV</c:v>
                </c:pt>
              </c:strCache>
            </c:strRef>
          </c:cat>
          <c:val>
            <c:numRef>
              <c:f>Sheet1!$B$2:$B$6</c:f>
              <c:numCache>
                <c:formatCode>0.0%</c:formatCode>
                <c:ptCount val="5"/>
                <c:pt idx="0">
                  <c:v>0.88</c:v>
                </c:pt>
                <c:pt idx="1">
                  <c:v>0.01</c:v>
                </c:pt>
                <c:pt idx="2">
                  <c:v>0.03</c:v>
                </c:pt>
                <c:pt idx="3">
                  <c:v>7.8E-2</c:v>
                </c:pt>
                <c:pt idx="4">
                  <c:v>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761-4D0E-9131-81366BD6C034}"/>
            </c:ext>
          </c:extLst>
        </c:ser>
        <c:ser>
          <c:idx val="1"/>
          <c:order val="1"/>
          <c:tx>
            <c:v>Labels</c:v>
          </c:tx>
          <c:spPr>
            <a:noFill/>
          </c:spPr>
          <c:explosion val="1"/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D761-4D0E-9131-81366BD6C034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D761-4D0E-9131-81366BD6C034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D761-4D0E-9131-81366BD6C034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D761-4D0E-9131-81366BD6C034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D761-4D0E-9131-81366BD6C034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D761-4D0E-9131-81366BD6C034}"/>
              </c:ext>
            </c:extLst>
          </c:dPt>
          <c:dLbls>
            <c:dLbl>
              <c:idx val="0"/>
              <c:layout>
                <c:manualLayout>
                  <c:x val="-0.14288720845119265"/>
                  <c:y val="-3.9287589174320271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D761-4D0E-9131-81366BD6C034}"/>
                </c:ext>
              </c:extLst>
            </c:dLbl>
            <c:dLbl>
              <c:idx val="1"/>
              <c:layout>
                <c:manualLayout>
                  <c:x val="5.0430779453362017E-2"/>
                  <c:y val="-8.2503937266072566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D761-4D0E-9131-81366BD6C034}"/>
                </c:ext>
              </c:extLst>
            </c:dLbl>
            <c:dLbl>
              <c:idx val="2"/>
              <c:layout>
                <c:manualLayout>
                  <c:x val="0.13168036857266766"/>
                  <c:y val="-3.9286042418840966E-3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464439682272853"/>
                      <c:h val="0.1268989130330544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2-D761-4D0E-9131-81366BD6C034}"/>
                </c:ext>
              </c:extLst>
            </c:dLbl>
            <c:dLbl>
              <c:idx val="3"/>
              <c:layout>
                <c:manualLayout>
                  <c:x val="0.16810259817787374"/>
                  <c:y val="4.7145107009184326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D761-4D0E-9131-81366BD6C03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b" anchorCtr="0"/>
              <a:lstStyle/>
              <a:p>
                <a:pPr>
                  <a:defRPr sz="1200" b="1" i="0" u="none" strike="noStrike" kern="1200" cap="none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am/fm (home/car)</c:v>
                </c:pt>
                <c:pt idx="1">
                  <c:v>PC/laptop</c:v>
                </c:pt>
                <c:pt idx="2">
                  <c:v>Mobile device</c:v>
                </c:pt>
                <c:pt idx="3">
                  <c:v>Smart Speaker</c:v>
                </c:pt>
                <c:pt idx="4">
                  <c:v>TV</c:v>
                </c:pt>
              </c:strCache>
            </c:strRef>
          </c:cat>
          <c:val>
            <c:numRef>
              <c:f>Sheet1!$GB$2:$GB$5</c:f>
              <c:numCache>
                <c:formatCode>General</c:formatCode>
                <c:ptCount val="4"/>
                <c:pt idx="0">
                  <c:v>0.88</c:v>
                </c:pt>
                <c:pt idx="1">
                  <c:v>0.01</c:v>
                </c:pt>
                <c:pt idx="2">
                  <c:v>0.03</c:v>
                </c:pt>
                <c:pt idx="3">
                  <c:v>7.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D761-4D0E-9131-81366BD6C034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52"/>
        <c:holeSize val="39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  <c:userShapes r:id="rId4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0.11142036017273305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5-4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E82-4B5D-A350-AD8D9079B41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E82-4B5D-A350-AD8D9079B41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E82-4B5D-A350-AD8D9079B41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E82-4B5D-A350-AD8D9079B41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E82-4B5D-A350-AD8D9079B412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BE82-4B5D-A350-AD8D9079B412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BE82-4B5D-A350-AD8D9079B41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E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 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21.8</c:v>
                </c:pt>
                <c:pt idx="1">
                  <c:v>44.9</c:v>
                </c:pt>
                <c:pt idx="2">
                  <c:v>15</c:v>
                </c:pt>
                <c:pt idx="3">
                  <c:v>13.1</c:v>
                </c:pt>
                <c:pt idx="4">
                  <c:v>5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E82-4B5D-A350-AD8D9079B412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BE82-4B5D-A350-AD8D9079B412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BE82-4B5D-A350-AD8D9079B412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BE82-4B5D-A350-AD8D9079B412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BE82-4B5D-A350-AD8D9079B412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BE82-4B5D-A350-AD8D9079B412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BE82-4B5D-A350-AD8D9079B412}"/>
              </c:ext>
            </c:extLst>
          </c:dPt>
          <c:dLbls>
            <c:dLbl>
              <c:idx val="0"/>
              <c:layout>
                <c:manualLayout>
                  <c:x val="4.4318913793976941E-2"/>
                  <c:y val="4.0318858527666486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14278802616997"/>
                      <c:h val="9.381774535819134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E-BE82-4B5D-A350-AD8D9079B412}"/>
                </c:ext>
              </c:extLst>
            </c:dLbl>
            <c:dLbl>
              <c:idx val="1"/>
              <c:layout>
                <c:manualLayout>
                  <c:x val="0.16322775117077737"/>
                  <c:y val="-0.1378175012365018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285493369231394"/>
                      <c:h val="0.1553402255328400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0-BE82-4B5D-A350-AD8D9079B412}"/>
                </c:ext>
              </c:extLst>
            </c:dLbl>
            <c:dLbl>
              <c:idx val="2"/>
              <c:layout>
                <c:manualLayout>
                  <c:x val="-7.7031268470737546E-2"/>
                  <c:y val="-2.7280598810161056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BE82-4B5D-A350-AD8D9079B412}"/>
                </c:ext>
              </c:extLst>
            </c:dLbl>
            <c:dLbl>
              <c:idx val="3"/>
              <c:layout>
                <c:manualLayout>
                  <c:x val="-8.154155528023764E-2"/>
                  <c:y val="2.304237503279330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BE82-4B5D-A350-AD8D9079B412}"/>
                </c:ext>
              </c:extLst>
            </c:dLbl>
            <c:dLbl>
              <c:idx val="4"/>
              <c:layout>
                <c:manualLayout>
                  <c:x val="-5.1004292722767901E-2"/>
                  <c:y val="2.5883680253140629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BE82-4B5D-A350-AD8D9079B412}"/>
                </c:ext>
              </c:extLst>
            </c:dLbl>
            <c:dLbl>
              <c:idx val="5"/>
              <c:layout>
                <c:manualLayout>
                  <c:x val="-5.3973647116826846E-2"/>
                  <c:y val="3.8704307179678203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BE82-4B5D-A350-AD8D9079B41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b" anchorCtr="0"/>
              <a:lstStyle/>
              <a:p>
                <a:pPr>
                  <a:defRPr sz="900" b="1" i="0" u="none" strike="noStrike" kern="1200" cap="none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E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 </c:v>
                </c:pt>
              </c:strCache>
            </c:strRef>
          </c:cat>
          <c:val>
            <c:numRef>
              <c:f>Sheet1!$GL$2:$GL$7</c:f>
              <c:numCache>
                <c:formatCode>General</c:formatCode>
                <c:ptCount val="6"/>
                <c:pt idx="0">
                  <c:v>21.8</c:v>
                </c:pt>
                <c:pt idx="1">
                  <c:v>44.9</c:v>
                </c:pt>
                <c:pt idx="2">
                  <c:v>15</c:v>
                </c:pt>
                <c:pt idx="3">
                  <c:v>13.1</c:v>
                </c:pt>
                <c:pt idx="4">
                  <c:v>5.2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BE82-4B5D-A350-AD8D9079B412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0.11142036017273305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15-3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0F1-4E45-A811-A05B916FDFD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0F1-4E45-A811-A05B916FDFD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0F1-4E45-A811-A05B916FDFD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0F1-4E45-A811-A05B916FDFD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0F1-4E45-A811-A05B916FDFD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40F1-4E45-A811-A05B916FDFD0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40F1-4E45-A811-A05B916FDFD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E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 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18.899999999999999</c:v>
                </c:pt>
                <c:pt idx="1">
                  <c:v>51</c:v>
                </c:pt>
                <c:pt idx="2">
                  <c:v>12.6</c:v>
                </c:pt>
                <c:pt idx="3">
                  <c:v>12.6</c:v>
                </c:pt>
                <c:pt idx="4">
                  <c:v>4.9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0F1-4E45-A811-A05B916FDFD0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40F1-4E45-A811-A05B916FDFD0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40F1-4E45-A811-A05B916FDFD0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40F1-4E45-A811-A05B916FDFD0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40F1-4E45-A811-A05B916FDFD0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40F1-4E45-A811-A05B916FDFD0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40F1-4E45-A811-A05B916FDFD0}"/>
              </c:ext>
            </c:extLst>
          </c:dPt>
          <c:dLbls>
            <c:dLbl>
              <c:idx val="0"/>
              <c:layout>
                <c:manualLayout>
                  <c:x val="5.6852939803773928E-2"/>
                  <c:y val="6.4540095504134601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0F1-4E45-A811-A05B916FDFD0}"/>
                </c:ext>
              </c:extLst>
            </c:dLbl>
            <c:dLbl>
              <c:idx val="1"/>
              <c:layout>
                <c:manualLayout>
                  <c:x val="0.15208603780569996"/>
                  <c:y val="-8.937439154999905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728424149871798"/>
                      <c:h val="0.1445751371383258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0-40F1-4E45-A811-A05B916FDFD0}"/>
                </c:ext>
              </c:extLst>
            </c:dLbl>
            <c:dLbl>
              <c:idx val="2"/>
              <c:layout>
                <c:manualLayout>
                  <c:x val="-4.3607115309161351E-2"/>
                  <c:y val="-1.113296621838973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40F1-4E45-A811-A05B916FDFD0}"/>
                </c:ext>
              </c:extLst>
            </c:dLbl>
            <c:dLbl>
              <c:idx val="3"/>
              <c:layout>
                <c:manualLayout>
                  <c:x val="-8.1541555280237613E-2"/>
                  <c:y val="4.9955096019078736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40F1-4E45-A811-A05B916FDFD0}"/>
                </c:ext>
              </c:extLst>
            </c:dLbl>
            <c:dLbl>
              <c:idx val="4"/>
              <c:layout>
                <c:manualLayout>
                  <c:x val="-6.2145677109959982E-2"/>
                  <c:y val="3.126622445039763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40F1-4E45-A811-A05B916FDFD0}"/>
                </c:ext>
              </c:extLst>
            </c:dLbl>
            <c:dLbl>
              <c:idx val="5"/>
              <c:layout>
                <c:manualLayout>
                  <c:x val="-5.9544339310422925E-2"/>
                  <c:y val="4.4086851376935333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40F1-4E45-A811-A05B916FDFD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b" anchorCtr="0"/>
              <a:lstStyle/>
              <a:p>
                <a:pPr>
                  <a:defRPr sz="900" b="1" i="0" u="none" strike="noStrike" kern="1200" cap="none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E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 </c:v>
                </c:pt>
              </c:strCache>
            </c:strRef>
          </c:cat>
          <c:val>
            <c:numRef>
              <c:f>Sheet1!$GL$2:$GL$7</c:f>
              <c:numCache>
                <c:formatCode>General</c:formatCode>
                <c:ptCount val="6"/>
                <c:pt idx="0">
                  <c:v>18.899999999999999</c:v>
                </c:pt>
                <c:pt idx="1">
                  <c:v>51</c:v>
                </c:pt>
                <c:pt idx="2">
                  <c:v>12.6</c:v>
                </c:pt>
                <c:pt idx="3">
                  <c:v>12.6</c:v>
                </c:pt>
                <c:pt idx="4">
                  <c:v>4.9000000000000004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40F1-4E45-A811-A05B916FDFD0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5.7594918200161986E-2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626-425B-9828-AB785FAC3CB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626-425B-9828-AB785FAC3CB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626-425B-9828-AB785FAC3CB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626-425B-9828-AB785FAC3CB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626-425B-9828-AB785FAC3CBF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9626-425B-9828-AB785FAC3CBF}"/>
              </c:ext>
            </c:extLst>
          </c:dPt>
          <c:dLbls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12.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9626-425B-9828-AB785FAC3CBF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9626-425B-9828-AB785FAC3CBF}"/>
                </c:ext>
              </c:extLst>
            </c:dLbl>
            <c:dLbl>
              <c:idx val="4"/>
              <c:layout>
                <c:manualLayout>
                  <c:x val="-2.313094139061125E-2"/>
                  <c:y val="1.61476325917713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626-425B-9828-AB785FAC3CB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RTE Radio 1</c:v>
                </c:pt>
                <c:pt idx="1">
                  <c:v>Today FM</c:v>
                </c:pt>
                <c:pt idx="2">
                  <c:v>RTE 2FM</c:v>
                </c:pt>
                <c:pt idx="3">
                  <c:v>Newstalk</c:v>
                </c:pt>
                <c:pt idx="4">
                  <c:v>RTE Lyric FM</c:v>
                </c:pt>
                <c:pt idx="5">
                  <c:v>Regional/ Local</c:v>
                </c:pt>
              </c:strCache>
            </c:strRef>
          </c:cat>
          <c:val>
            <c:numRef>
              <c:f>Sheet1!$B$2:$B$7</c:f>
              <c:numCache>
                <c:formatCode>0.0</c:formatCode>
                <c:ptCount val="6"/>
                <c:pt idx="0">
                  <c:v>11.2</c:v>
                </c:pt>
                <c:pt idx="1">
                  <c:v>12.5</c:v>
                </c:pt>
                <c:pt idx="2">
                  <c:v>8</c:v>
                </c:pt>
                <c:pt idx="3">
                  <c:v>7.6</c:v>
                </c:pt>
                <c:pt idx="4">
                  <c:v>2.2000000000000002</c:v>
                </c:pt>
                <c:pt idx="5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626-425B-9828-AB785FAC3CBF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9626-425B-9828-AB785FAC3CBF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9626-425B-9828-AB785FAC3CBF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9626-425B-9828-AB785FAC3CBF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9626-425B-9828-AB785FAC3CBF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9626-425B-9828-AB785FAC3CBF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9626-425B-9828-AB785FAC3CBF}"/>
              </c:ext>
            </c:extLst>
          </c:dPt>
          <c:dLbls>
            <c:dLbl>
              <c:idx val="0"/>
              <c:layout>
                <c:manualLayout>
                  <c:x val="7.7092513520558875E-2"/>
                  <c:y val="2.6862286123334855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9626-425B-9828-AB785FAC3CBF}"/>
                </c:ext>
              </c:extLst>
            </c:dLbl>
            <c:dLbl>
              <c:idx val="1"/>
              <c:layout>
                <c:manualLayout>
                  <c:x val="3.6841260499705743E-2"/>
                  <c:y val="1.0202676099257455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9626-425B-9828-AB785FAC3CBF}"/>
                </c:ext>
              </c:extLst>
            </c:dLbl>
            <c:dLbl>
              <c:idx val="2"/>
              <c:layout>
                <c:manualLayout>
                  <c:x val="3.6001625540566122E-2"/>
                  <c:y val="-2.7280598810161056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9626-425B-9828-AB785FAC3CBF}"/>
                </c:ext>
              </c:extLst>
            </c:dLbl>
            <c:dLbl>
              <c:idx val="3"/>
              <c:layout>
                <c:manualLayout>
                  <c:x val="6.9975878708264314E-2"/>
                  <c:y val="-6.3078332123320549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9626-425B-9828-AB785FAC3CBF}"/>
                </c:ext>
              </c:extLst>
            </c:dLbl>
            <c:dLbl>
              <c:idx val="4"/>
              <c:layout>
                <c:manualLayout>
                  <c:x val="5.5523366007305827E-2"/>
                  <c:y val="-2.7941761719430434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9626-425B-9828-AB785FAC3CBF}"/>
                </c:ext>
              </c:extLst>
            </c:dLbl>
            <c:dLbl>
              <c:idx val="5"/>
              <c:layout>
                <c:manualLayout>
                  <c:x val="-7.2488181250049799E-2"/>
                  <c:y val="-1.512113479289283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9626-425B-9828-AB785FAC3CB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b" anchorCtr="0"/>
              <a:lstStyle/>
              <a:p>
                <a:pPr>
                  <a:defRPr sz="900" b="1" i="0" u="none" strike="noStrike" kern="1200" cap="none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RTE Radio 1</c:v>
                </c:pt>
                <c:pt idx="1">
                  <c:v>Today FM</c:v>
                </c:pt>
                <c:pt idx="2">
                  <c:v>RTE 2FM</c:v>
                </c:pt>
                <c:pt idx="3">
                  <c:v>Newstalk</c:v>
                </c:pt>
                <c:pt idx="4">
                  <c:v>RTE Lyric FM</c:v>
                </c:pt>
                <c:pt idx="5">
                  <c:v>Regional/ Local</c:v>
                </c:pt>
              </c:strCache>
            </c:strRef>
          </c:cat>
          <c:val>
            <c:numRef>
              <c:f>Sheet1!$GL$2:$GL$7</c:f>
              <c:numCache>
                <c:formatCode>General</c:formatCode>
                <c:ptCount val="6"/>
                <c:pt idx="0">
                  <c:v>11.2</c:v>
                </c:pt>
                <c:pt idx="1">
                  <c:v>12.5</c:v>
                </c:pt>
                <c:pt idx="2">
                  <c:v>8</c:v>
                </c:pt>
                <c:pt idx="3">
                  <c:v>7.6</c:v>
                </c:pt>
                <c:pt idx="4">
                  <c:v>2.2000000000000002</c:v>
                </c:pt>
                <c:pt idx="5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9626-425B-9828-AB785FAC3CBF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9.5272727580961725E-2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15-3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713-4CCC-AEC5-235D5D88CF5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713-4CCC-AEC5-235D5D88CF5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713-4CCC-AEC5-235D5D88CF5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713-4CCC-AEC5-235D5D88CF5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713-4CCC-AEC5-235D5D88CF54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713-4CCC-AEC5-235D5D88CF54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A713-4CCC-AEC5-235D5D88CF54}"/>
                </c:ext>
              </c:extLst>
            </c:dLbl>
            <c:dLbl>
              <c:idx val="3"/>
              <c:layout>
                <c:manualLayout>
                  <c:x val="1.1565470695305625E-2"/>
                  <c:y val="-1.07650883945143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713-4CCC-AEC5-235D5D88CF54}"/>
                </c:ext>
              </c:extLst>
            </c:dLbl>
            <c:dLbl>
              <c:idx val="4"/>
              <c:layout>
                <c:manualLayout>
                  <c:x val="-8.6741030214792184E-3"/>
                  <c:y val="3.22952651835426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713-4CCC-AEC5-235D5D88CF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RTE Radio 1</c:v>
                </c:pt>
                <c:pt idx="1">
                  <c:v>Today FM</c:v>
                </c:pt>
                <c:pt idx="2">
                  <c:v>RTE 2FM</c:v>
                </c:pt>
                <c:pt idx="3">
                  <c:v>Newstalk</c:v>
                </c:pt>
                <c:pt idx="4">
                  <c:v>RTE Lyric FM</c:v>
                </c:pt>
                <c:pt idx="5">
                  <c:v>Regional/ Local</c:v>
                </c:pt>
              </c:strCache>
            </c:strRef>
          </c:cat>
          <c:val>
            <c:numRef>
              <c:f>Sheet1!$B$2:$B$7</c:f>
              <c:numCache>
                <c:formatCode>0.0</c:formatCode>
                <c:ptCount val="6"/>
                <c:pt idx="0" formatCode="General">
                  <c:v>7.2</c:v>
                </c:pt>
                <c:pt idx="1">
                  <c:v>12</c:v>
                </c:pt>
                <c:pt idx="2">
                  <c:v>10.4</c:v>
                </c:pt>
                <c:pt idx="3">
                  <c:v>5</c:v>
                </c:pt>
                <c:pt idx="4" formatCode="General">
                  <c:v>0.9</c:v>
                </c:pt>
                <c:pt idx="5">
                  <c:v>64.0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713-4CCC-AEC5-235D5D88CF54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A713-4CCC-AEC5-235D5D88CF54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A713-4CCC-AEC5-235D5D88CF54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A713-4CCC-AEC5-235D5D88CF54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A713-4CCC-AEC5-235D5D88CF54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A713-4CCC-AEC5-235D5D88CF54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A713-4CCC-AEC5-235D5D88CF54}"/>
              </c:ext>
            </c:extLst>
          </c:dPt>
          <c:dLbls>
            <c:dLbl>
              <c:idx val="1"/>
              <c:layout>
                <c:manualLayout>
                  <c:x val="4.6261882781222396E-2"/>
                  <c:y val="2.4669709250841988E-17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A713-4CCC-AEC5-235D5D88CF54}"/>
                </c:ext>
              </c:extLst>
            </c:dLbl>
            <c:dLbl>
              <c:idx val="2"/>
              <c:layout>
                <c:manualLayout>
                  <c:x val="5.7827353476528127E-2"/>
                  <c:y val="2.6912720986285481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A713-4CCC-AEC5-235D5D88CF54}"/>
                </c:ext>
              </c:extLst>
            </c:dLbl>
            <c:dLbl>
              <c:idx val="3"/>
              <c:layout>
                <c:manualLayout>
                  <c:x val="8.6741030214792195E-2"/>
                  <c:y val="-2.1530176789028424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A713-4CCC-AEC5-235D5D88CF54}"/>
                </c:ext>
              </c:extLst>
            </c:dLbl>
            <c:dLbl>
              <c:idx val="4"/>
              <c:layout>
                <c:manualLayout>
                  <c:x val="5.2044618128875314E-2"/>
                  <c:y val="5.382544197257008E-3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A713-4CCC-AEC5-235D5D88CF54}"/>
                </c:ext>
              </c:extLst>
            </c:dLbl>
            <c:dLbl>
              <c:idx val="5"/>
              <c:layout>
                <c:manualLayout>
                  <c:x val="-5.2044618128875314E-2"/>
                  <c:y val="2.691272098628553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A713-4CCC-AEC5-235D5D88CF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RTE Radio 1</c:v>
                </c:pt>
                <c:pt idx="1">
                  <c:v>Today FM</c:v>
                </c:pt>
                <c:pt idx="2">
                  <c:v>RTE 2FM</c:v>
                </c:pt>
                <c:pt idx="3">
                  <c:v>Newstalk</c:v>
                </c:pt>
                <c:pt idx="4">
                  <c:v>RTE Lyric FM</c:v>
                </c:pt>
                <c:pt idx="5">
                  <c:v>Regional/ Local</c:v>
                </c:pt>
              </c:strCache>
            </c:strRef>
          </c:cat>
          <c:val>
            <c:numRef>
              <c:f>Sheet1!$GL$2:$GL$7</c:f>
              <c:numCache>
                <c:formatCode>General</c:formatCode>
                <c:ptCount val="6"/>
                <c:pt idx="0">
                  <c:v>7.2</c:v>
                </c:pt>
                <c:pt idx="1">
                  <c:v>12</c:v>
                </c:pt>
                <c:pt idx="2">
                  <c:v>10.4</c:v>
                </c:pt>
                <c:pt idx="3">
                  <c:v>5</c:v>
                </c:pt>
                <c:pt idx="4">
                  <c:v>0.9</c:v>
                </c:pt>
                <c:pt idx="5">
                  <c:v>64.0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A713-4CCC-AEC5-235D5D88CF54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900" b="1">
          <a:solidFill>
            <a:srgbClr val="7F7F7F"/>
          </a:solidFill>
        </a:defRPr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718887080972643"/>
          <c:y val="0.10603781597547596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45+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C85-46FD-B5DC-E9888E43184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C85-46FD-B5DC-E9888E43184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C85-46FD-B5DC-E9888E43184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C85-46FD-B5DC-E9888E43184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C85-46FD-B5DC-E9888E43184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C85-46FD-B5DC-E9888E431840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8C85-46FD-B5DC-E9888E4318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E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 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33.4</c:v>
                </c:pt>
                <c:pt idx="1">
                  <c:v>23.6</c:v>
                </c:pt>
                <c:pt idx="2">
                  <c:v>24.4</c:v>
                </c:pt>
                <c:pt idx="3">
                  <c:v>14.1</c:v>
                </c:pt>
                <c:pt idx="4">
                  <c:v>4.5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C85-46FD-B5DC-E9888E431840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8C85-46FD-B5DC-E9888E431840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8C85-46FD-B5DC-E9888E431840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8C85-46FD-B5DC-E9888E431840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8C85-46FD-B5DC-E9888E431840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8C85-46FD-B5DC-E9888E431840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8C85-46FD-B5DC-E9888E431840}"/>
              </c:ext>
            </c:extLst>
          </c:dPt>
          <c:dLbls>
            <c:dLbl>
              <c:idx val="0"/>
              <c:layout>
                <c:manualLayout>
                  <c:x val="5.6852861570272854E-2"/>
                  <c:y val="4.300991871510617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C85-46FD-B5DC-E9888E431840}"/>
                </c:ext>
              </c:extLst>
            </c:dLbl>
            <c:dLbl>
              <c:idx val="1"/>
              <c:layout>
                <c:manualLayout>
                  <c:x val="0.11030606567232004"/>
                  <c:y val="-5.1696582169199222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614285711152592"/>
                      <c:h val="0.1876354907163826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0-8C85-46FD-B5DC-E9888E431840}"/>
                </c:ext>
              </c:extLst>
            </c:dLbl>
            <c:dLbl>
              <c:idx val="2"/>
              <c:layout>
                <c:manualLayout>
                  <c:x val="-7.981661456753554E-2"/>
                  <c:y val="-2.1898054612904051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8C85-46FD-B5DC-E9888E431840}"/>
                </c:ext>
              </c:extLst>
            </c:dLbl>
            <c:dLbl>
              <c:idx val="3"/>
              <c:layout>
                <c:manualLayout>
                  <c:x val="-7.3185516989843574E-2"/>
                  <c:y val="4.4572551821821585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8C85-46FD-B5DC-E9888E431840}"/>
                </c:ext>
              </c:extLst>
            </c:dLbl>
            <c:dLbl>
              <c:idx val="4"/>
              <c:layout>
                <c:manualLayout>
                  <c:x val="-3.7077562238777853E-2"/>
                  <c:y val="2.5883680253140629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8C85-46FD-B5DC-E9888E431840}"/>
                </c:ext>
              </c:extLst>
            </c:dLbl>
            <c:dLbl>
              <c:idx val="5"/>
              <c:layout>
                <c:manualLayout>
                  <c:x val="-4.5617608826432753E-2"/>
                  <c:y val="1.7174130390649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8C85-46FD-B5DC-E9888E4318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b" anchorCtr="0"/>
              <a:lstStyle/>
              <a:p>
                <a:pPr>
                  <a:defRPr sz="900" b="1" i="0" u="none" strike="noStrike" kern="1200" cap="none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E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 </c:v>
                </c:pt>
              </c:strCache>
            </c:strRef>
          </c:cat>
          <c:val>
            <c:numRef>
              <c:f>Sheet1!$GL$2:$GL$7</c:f>
              <c:numCache>
                <c:formatCode>General</c:formatCode>
                <c:ptCount val="6"/>
                <c:pt idx="0">
                  <c:v>33.4</c:v>
                </c:pt>
                <c:pt idx="1">
                  <c:v>23.6</c:v>
                </c:pt>
                <c:pt idx="2">
                  <c:v>24.4</c:v>
                </c:pt>
                <c:pt idx="3">
                  <c:v>14.1</c:v>
                </c:pt>
                <c:pt idx="4">
                  <c:v>4.5999999999999996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8C85-46FD-B5DC-E9888E431840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335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0.11142036017273305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35-5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221-4034-B30F-8C58CF77E1C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221-4034-B30F-8C58CF77E1C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221-4034-B30F-8C58CF77E1C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221-4034-B30F-8C58CF77E1C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221-4034-B30F-8C58CF77E1CA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221-4034-B30F-8C58CF77E1CA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221-4034-B30F-8C58CF77E1C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E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 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22.8</c:v>
                </c:pt>
                <c:pt idx="1">
                  <c:v>41.1</c:v>
                </c:pt>
                <c:pt idx="2">
                  <c:v>17.2</c:v>
                </c:pt>
                <c:pt idx="3">
                  <c:v>13.6</c:v>
                </c:pt>
                <c:pt idx="4">
                  <c:v>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221-4034-B30F-8C58CF77E1CA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D221-4034-B30F-8C58CF77E1CA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D221-4034-B30F-8C58CF77E1CA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D221-4034-B30F-8C58CF77E1CA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D221-4034-B30F-8C58CF77E1CA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D221-4034-B30F-8C58CF77E1CA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D221-4034-B30F-8C58CF77E1CA}"/>
              </c:ext>
            </c:extLst>
          </c:dPt>
          <c:dLbls>
            <c:dLbl>
              <c:idx val="0"/>
              <c:layout>
                <c:manualLayout>
                  <c:x val="2.899940060229261E-2"/>
                  <c:y val="4.8392462912363279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D221-4034-B30F-8C58CF77E1CA}"/>
                </c:ext>
              </c:extLst>
            </c:dLbl>
            <c:dLbl>
              <c:idx val="1"/>
              <c:layout>
                <c:manualLayout>
                  <c:x val="0.12841092496080231"/>
                  <c:y val="-4.0931917597062745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006958759551599"/>
                      <c:h val="0.1445751371383258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0-D221-4034-B30F-8C58CF77E1CA}"/>
                </c:ext>
              </c:extLst>
            </c:dLbl>
            <c:dLbl>
              <c:idx val="2"/>
              <c:layout>
                <c:manualLayout>
                  <c:x val="-6.0319191889949442E-2"/>
                  <c:y val="-2.189805461290395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D221-4034-B30F-8C58CF77E1CA}"/>
                </c:ext>
              </c:extLst>
            </c:dLbl>
            <c:dLbl>
              <c:idx val="3"/>
              <c:layout>
                <c:manualLayout>
                  <c:x val="-7.040017089304558E-2"/>
                  <c:y val="-1.4635434348006586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D221-4034-B30F-8C58CF77E1CA}"/>
                </c:ext>
              </c:extLst>
            </c:dLbl>
            <c:dLbl>
              <c:idx val="4"/>
              <c:layout>
                <c:manualLayout>
                  <c:x val="-6.7716369303556012E-2"/>
                  <c:y val="1.511859185862641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D221-4034-B30F-8C58CF77E1CA}"/>
                </c:ext>
              </c:extLst>
            </c:dLbl>
            <c:dLbl>
              <c:idx val="5"/>
              <c:layout>
                <c:manualLayout>
                  <c:x val="-5.118830102002888E-2"/>
                  <c:y val="3.8704307179678252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D221-4034-B30F-8C58CF77E1C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b" anchorCtr="0"/>
              <a:lstStyle/>
              <a:p>
                <a:pPr>
                  <a:defRPr sz="900" b="1" i="0" u="none" strike="noStrike" kern="1200" cap="none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E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 </c:v>
                </c:pt>
              </c:strCache>
            </c:strRef>
          </c:cat>
          <c:val>
            <c:numRef>
              <c:f>Sheet1!$GL$2:$GL$7</c:f>
              <c:numCache>
                <c:formatCode>General</c:formatCode>
                <c:ptCount val="6"/>
                <c:pt idx="0">
                  <c:v>22.8</c:v>
                </c:pt>
                <c:pt idx="1">
                  <c:v>41.1</c:v>
                </c:pt>
                <c:pt idx="2">
                  <c:v>17.2</c:v>
                </c:pt>
                <c:pt idx="3">
                  <c:v>13.6</c:v>
                </c:pt>
                <c:pt idx="4">
                  <c:v>5.3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D221-4034-B30F-8C58CF77E1CA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0.11142036017273305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45+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56E-4240-864E-5A8122CC540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56E-4240-864E-5A8122CC540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56E-4240-864E-5A8122CC540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56E-4240-864E-5A8122CC540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56E-4240-864E-5A8122CC540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656E-4240-864E-5A8122CC5400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656E-4240-864E-5A8122CC5400}"/>
                </c:ext>
              </c:extLst>
            </c:dLbl>
            <c:dLbl>
              <c:idx val="3"/>
              <c:layout>
                <c:manualLayout>
                  <c:x val="-2.8913676738265125E-3"/>
                  <c:y val="1.61476325917712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56E-4240-864E-5A8122CC5400}"/>
                </c:ext>
              </c:extLst>
            </c:dLbl>
            <c:dLbl>
              <c:idx val="4"/>
              <c:layout>
                <c:manualLayout>
                  <c:x val="-2.313094139061125E-2"/>
                  <c:y val="3.22952651835426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56E-4240-864E-5A8122CC54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RTE Radio 1</c:v>
                </c:pt>
                <c:pt idx="1">
                  <c:v>Today FM</c:v>
                </c:pt>
                <c:pt idx="2">
                  <c:v>RTE 2FM</c:v>
                </c:pt>
                <c:pt idx="3">
                  <c:v>Newstalk</c:v>
                </c:pt>
                <c:pt idx="4">
                  <c:v>RTE Lyric FM</c:v>
                </c:pt>
                <c:pt idx="5">
                  <c:v>Regional/ Local</c:v>
                </c:pt>
              </c:strCache>
            </c:strRef>
          </c:cat>
          <c:val>
            <c:numRef>
              <c:f>Sheet1!$B$2:$B$7</c:f>
              <c:numCache>
                <c:formatCode>0.0</c:formatCode>
                <c:ptCount val="6"/>
                <c:pt idx="0">
                  <c:v>25.8</c:v>
                </c:pt>
                <c:pt idx="1">
                  <c:v>6.6</c:v>
                </c:pt>
                <c:pt idx="2">
                  <c:v>3.3</c:v>
                </c:pt>
                <c:pt idx="3">
                  <c:v>8.1999999999999993</c:v>
                </c:pt>
                <c:pt idx="4">
                  <c:v>3.6</c:v>
                </c:pt>
                <c:pt idx="5">
                  <c:v>5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56E-4240-864E-5A8122CC5400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656E-4240-864E-5A8122CC5400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656E-4240-864E-5A8122CC5400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656E-4240-864E-5A8122CC5400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656E-4240-864E-5A8122CC5400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656E-4240-864E-5A8122CC5400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656E-4240-864E-5A8122CC5400}"/>
              </c:ext>
            </c:extLst>
          </c:dPt>
          <c:dLbls>
            <c:dLbl>
              <c:idx val="0"/>
              <c:layout>
                <c:manualLayout>
                  <c:x val="8.2875248868211585E-2"/>
                  <c:y val="3.762737451784906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56E-4240-864E-5A8122CC5400}"/>
                </c:ext>
              </c:extLst>
            </c:dLbl>
            <c:dLbl>
              <c:idx val="1"/>
              <c:layout>
                <c:manualLayout>
                  <c:x val="4.5515363521184959E-2"/>
                  <c:y val="1.0202676099257455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656E-4240-864E-5A8122CC5400}"/>
                </c:ext>
              </c:extLst>
            </c:dLbl>
            <c:dLbl>
              <c:idx val="2"/>
              <c:layout>
                <c:manualLayout>
                  <c:x val="5.0458463909698263E-2"/>
                  <c:y val="5.014666373381581E-3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656E-4240-864E-5A8122CC5400}"/>
                </c:ext>
              </c:extLst>
            </c:dLbl>
            <c:dLbl>
              <c:idx val="3"/>
              <c:layout>
                <c:manualLayout>
                  <c:x val="4.106220197000035E-2"/>
                  <c:y val="1.2277286638279044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656E-4240-864E-5A8122CC5400}"/>
                </c:ext>
              </c:extLst>
            </c:dLbl>
            <c:dLbl>
              <c:idx val="4"/>
              <c:layout>
                <c:manualLayout>
                  <c:x val="-9.4827753031667308E-2"/>
                  <c:y val="-2.7941761719430531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656E-4240-864E-5A8122CC5400}"/>
                </c:ext>
              </c:extLst>
            </c:dLbl>
            <c:dLbl>
              <c:idx val="5"/>
              <c:layout>
                <c:manualLayout>
                  <c:x val="-6.09227105547442E-2"/>
                  <c:y val="3.8704307179678224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656E-4240-864E-5A8122CC54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b" anchorCtr="0"/>
              <a:lstStyle/>
              <a:p>
                <a:pPr>
                  <a:defRPr sz="900" b="1" i="0" u="none" strike="noStrike" kern="1200" cap="none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RTE Radio 1</c:v>
                </c:pt>
                <c:pt idx="1">
                  <c:v>Today FM</c:v>
                </c:pt>
                <c:pt idx="2">
                  <c:v>RTE 2FM</c:v>
                </c:pt>
                <c:pt idx="3">
                  <c:v>Newstalk</c:v>
                </c:pt>
                <c:pt idx="4">
                  <c:v>RTE Lyric FM</c:v>
                </c:pt>
                <c:pt idx="5">
                  <c:v>Regional/ Local</c:v>
                </c:pt>
              </c:strCache>
            </c:strRef>
          </c:cat>
          <c:val>
            <c:numRef>
              <c:f>Sheet1!$GL$2:$GL$7</c:f>
              <c:numCache>
                <c:formatCode>General</c:formatCode>
                <c:ptCount val="6"/>
                <c:pt idx="0">
                  <c:v>25.8</c:v>
                </c:pt>
                <c:pt idx="1">
                  <c:v>6.6</c:v>
                </c:pt>
                <c:pt idx="2">
                  <c:v>3.3</c:v>
                </c:pt>
                <c:pt idx="3">
                  <c:v>8.1999999999999993</c:v>
                </c:pt>
                <c:pt idx="4">
                  <c:v>3.6</c:v>
                </c:pt>
                <c:pt idx="5">
                  <c:v>5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656E-4240-864E-5A8122CC5400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329340438053583"/>
          <c:y val="7.9125094989190417E-2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35-5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94-44E7-8E5C-C84CF9874AE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94-44E7-8E5C-C84CF9874AE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C94-44E7-8E5C-C84CF9874AE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C94-44E7-8E5C-C84CF9874AE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C94-44E7-8E5C-C84CF9874AE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9C94-44E7-8E5C-C84CF9874AED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9C94-44E7-8E5C-C84CF9874AED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9C94-44E7-8E5C-C84CF9874AED}"/>
                </c:ext>
              </c:extLst>
            </c:dLbl>
            <c:dLbl>
              <c:idx val="4"/>
              <c:layout>
                <c:manualLayout>
                  <c:x val="-2.3130941390611306E-2"/>
                  <c:y val="1.61476325917713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C94-44E7-8E5C-C84CF9874AE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RTE Radio 1</c:v>
                </c:pt>
                <c:pt idx="1">
                  <c:v>Today FM</c:v>
                </c:pt>
                <c:pt idx="2">
                  <c:v>RTE 2FM</c:v>
                </c:pt>
                <c:pt idx="3">
                  <c:v>Newstalk</c:v>
                </c:pt>
                <c:pt idx="4">
                  <c:v>RTE Lyric FM</c:v>
                </c:pt>
                <c:pt idx="5">
                  <c:v>Regional/ Local</c:v>
                </c:pt>
              </c:strCache>
            </c:strRef>
          </c:cat>
          <c:val>
            <c:numRef>
              <c:f>Sheet1!$B$2:$B$7</c:f>
              <c:numCache>
                <c:formatCode>0.0</c:formatCode>
                <c:ptCount val="6"/>
                <c:pt idx="0">
                  <c:v>13.6</c:v>
                </c:pt>
                <c:pt idx="1">
                  <c:v>13.4</c:v>
                </c:pt>
                <c:pt idx="2">
                  <c:v>6.4</c:v>
                </c:pt>
                <c:pt idx="3">
                  <c:v>8.8000000000000007</c:v>
                </c:pt>
                <c:pt idx="4">
                  <c:v>2.2999999999999998</c:v>
                </c:pt>
                <c:pt idx="5">
                  <c:v>5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C94-44E7-8E5C-C84CF9874AED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9C94-44E7-8E5C-C84CF9874AED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9C94-44E7-8E5C-C84CF9874AED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9C94-44E7-8E5C-C84CF9874AED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9C94-44E7-8E5C-C84CF9874AED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9C94-44E7-8E5C-C84CF9874AED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9C94-44E7-8E5C-C84CF9874AED}"/>
              </c:ext>
            </c:extLst>
          </c:dPt>
          <c:dLbls>
            <c:dLbl>
              <c:idx val="0"/>
              <c:layout>
                <c:manualLayout>
                  <c:x val="8.8657984215864391E-2"/>
                  <c:y val="2.1479741926077749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9C94-44E7-8E5C-C84CF9874AED}"/>
                </c:ext>
              </c:extLst>
            </c:dLbl>
            <c:dLbl>
              <c:idx val="1"/>
              <c:layout>
                <c:manualLayout>
                  <c:x val="3.9732628173532042E-2"/>
                  <c:y val="4.8201319020003495E-3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9C94-44E7-8E5C-C84CF9874AED}"/>
                </c:ext>
              </c:extLst>
            </c:dLbl>
            <c:dLbl>
              <c:idx val="2"/>
              <c:layout>
                <c:manualLayout>
                  <c:x val="4.4675728562045346E-2"/>
                  <c:y val="-3.2663143007418162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9C94-44E7-8E5C-C84CF9874AED}"/>
                </c:ext>
              </c:extLst>
            </c:dLbl>
            <c:dLbl>
              <c:idx val="3"/>
              <c:layout>
                <c:manualLayout>
                  <c:x val="7.2867246382090828E-2"/>
                  <c:y val="-4.693069953154922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9C94-44E7-8E5C-C84CF9874AED}"/>
                </c:ext>
              </c:extLst>
            </c:dLbl>
            <c:dLbl>
              <c:idx val="4"/>
              <c:layout>
                <c:manualLayout>
                  <c:x val="7.2871572050264163E-2"/>
                  <c:y val="-4.4089394311201756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9C94-44E7-8E5C-C84CF9874AED}"/>
                </c:ext>
              </c:extLst>
            </c:dLbl>
            <c:dLbl>
              <c:idx val="5"/>
              <c:layout>
                <c:manualLayout>
                  <c:x val="-7.2488181250049799E-2"/>
                  <c:y val="-1.512113479289283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9C94-44E7-8E5C-C84CF9874AE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b" anchorCtr="0"/>
              <a:lstStyle/>
              <a:p>
                <a:pPr>
                  <a:defRPr sz="900" b="1" i="0" u="none" strike="noStrike" kern="1200" cap="none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RTE Radio 1</c:v>
                </c:pt>
                <c:pt idx="1">
                  <c:v>Today FM</c:v>
                </c:pt>
                <c:pt idx="2">
                  <c:v>RTE 2FM</c:v>
                </c:pt>
                <c:pt idx="3">
                  <c:v>Newstalk</c:v>
                </c:pt>
                <c:pt idx="4">
                  <c:v>RTE Lyric FM</c:v>
                </c:pt>
                <c:pt idx="5">
                  <c:v>Regional/ Local</c:v>
                </c:pt>
              </c:strCache>
            </c:strRef>
          </c:cat>
          <c:val>
            <c:numRef>
              <c:f>Sheet1!$GL$2:$GL$7</c:f>
              <c:numCache>
                <c:formatCode>General</c:formatCode>
                <c:ptCount val="6"/>
                <c:pt idx="0">
                  <c:v>13.6</c:v>
                </c:pt>
                <c:pt idx="1">
                  <c:v>13.4</c:v>
                </c:pt>
                <c:pt idx="2">
                  <c:v>6.4</c:v>
                </c:pt>
                <c:pt idx="3">
                  <c:v>8.8000000000000007</c:v>
                </c:pt>
                <c:pt idx="4">
                  <c:v>2.2999999999999998</c:v>
                </c:pt>
                <c:pt idx="5">
                  <c:v>5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9C94-44E7-8E5C-C84CF9874AED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60</c:v>
                </c:pt>
                <c:pt idx="1">
                  <c:v>255</c:v>
                </c:pt>
                <c:pt idx="2">
                  <c:v>198</c:v>
                </c:pt>
                <c:pt idx="3">
                  <c:v>198</c:v>
                </c:pt>
                <c:pt idx="4">
                  <c:v>1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78</c:v>
                </c:pt>
                <c:pt idx="1">
                  <c:v>254</c:v>
                </c:pt>
                <c:pt idx="2">
                  <c:v>189</c:v>
                </c:pt>
                <c:pt idx="3">
                  <c:v>211</c:v>
                </c:pt>
                <c:pt idx="4">
                  <c:v>1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 Group</c:v>
                </c:pt>
                <c:pt idx="2">
                  <c:v>IRS
Plus</c:v>
                </c:pt>
                <c:pt idx="3">
                  <c:v>Onic Urban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64</c:v>
                </c:pt>
                <c:pt idx="1">
                  <c:v>703</c:v>
                </c:pt>
                <c:pt idx="2">
                  <c:v>346</c:v>
                </c:pt>
                <c:pt idx="3">
                  <c:v>3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 Group</c:v>
                </c:pt>
                <c:pt idx="2">
                  <c:v>IRS
Plus</c:v>
                </c:pt>
                <c:pt idx="3">
                  <c:v>Onic Urban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556</c:v>
                </c:pt>
                <c:pt idx="1">
                  <c:v>696</c:v>
                </c:pt>
                <c:pt idx="2">
                  <c:v>377</c:v>
                </c:pt>
                <c:pt idx="3">
                  <c:v>3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842169331250662"/>
          <c:y val="0.1078403840356526"/>
          <c:w val="0.59032073225718495"/>
          <c:h val="0.8921596159643474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17B-45FD-88FC-B4554E77815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17B-45FD-88FC-B4554E77815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17B-45FD-88FC-B4554E77815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17B-45FD-88FC-B4554E77815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17B-45FD-88FC-B4554E778154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17B-45FD-88FC-B4554E778154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17B-45FD-88FC-B4554E778154}"/>
                </c:ext>
              </c:extLst>
            </c:dLbl>
            <c:dLbl>
              <c:idx val="1"/>
              <c:layout>
                <c:manualLayout>
                  <c:x val="8.4051299088936868E-3"/>
                  <c:y val="1.9643794587160136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17B-45FD-88FC-B4554E778154}"/>
                </c:ext>
              </c:extLst>
            </c:dLbl>
            <c:dLbl>
              <c:idx val="2"/>
              <c:layout>
                <c:manualLayout>
                  <c:x val="1.6810259817787269E-2"/>
                  <c:y val="-1.9643794587160136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17B-45FD-88FC-B4554E778154}"/>
                </c:ext>
              </c:extLst>
            </c:dLbl>
            <c:dLbl>
              <c:idx val="3"/>
              <c:layout>
                <c:manualLayout>
                  <c:x val="1.6810259817787374E-2"/>
                  <c:y val="-1.1786276752296153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17B-45FD-88FC-B4554E778154}"/>
                </c:ext>
              </c:extLst>
            </c:dLbl>
            <c:dLbl>
              <c:idx val="4"/>
              <c:layout>
                <c:manualLayout>
                  <c:x val="-2.8017099696312289E-3"/>
                  <c:y val="2.35725535045920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17B-45FD-88FC-B4554E778154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am/fm (home/car)</c:v>
                </c:pt>
                <c:pt idx="1">
                  <c:v>PC/laptop</c:v>
                </c:pt>
                <c:pt idx="2">
                  <c:v>Mobile device</c:v>
                </c:pt>
                <c:pt idx="3">
                  <c:v>Smart Speaker</c:v>
                </c:pt>
                <c:pt idx="4">
                  <c:v>TV Set</c:v>
                </c:pt>
              </c:strCache>
            </c:strRef>
          </c:cat>
          <c:val>
            <c:numRef>
              <c:f>Sheet1!$B$2:$B$6</c:f>
              <c:numCache>
                <c:formatCode>0.0%</c:formatCode>
                <c:ptCount val="5"/>
                <c:pt idx="0">
                  <c:v>0.82199999999999995</c:v>
                </c:pt>
                <c:pt idx="1">
                  <c:v>2.4E-2</c:v>
                </c:pt>
                <c:pt idx="2">
                  <c:v>7.0999999999999994E-2</c:v>
                </c:pt>
                <c:pt idx="3">
                  <c:v>8.1000000000000003E-2</c:v>
                </c:pt>
                <c:pt idx="4">
                  <c:v>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17B-45FD-88FC-B4554E778154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E17B-45FD-88FC-B4554E778154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E17B-45FD-88FC-B4554E778154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E17B-45FD-88FC-B4554E778154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E17B-45FD-88FC-B4554E778154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E17B-45FD-88FC-B4554E778154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E17B-45FD-88FC-B4554E778154}"/>
              </c:ext>
            </c:extLst>
          </c:dPt>
          <c:dLbls>
            <c:dLbl>
              <c:idx val="0"/>
              <c:layout>
                <c:manualLayout>
                  <c:x val="-0.13728378851193021"/>
                  <c:y val="-3.5358830256888386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E17B-45FD-88FC-B4554E778154}"/>
                </c:ext>
              </c:extLst>
            </c:dLbl>
            <c:dLbl>
              <c:idx val="1"/>
              <c:layout>
                <c:manualLayout>
                  <c:x val="-0.18771456796529232"/>
                  <c:y val="3.9287589174320271E-3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E17B-45FD-88FC-B4554E778154}"/>
                </c:ext>
              </c:extLst>
            </c:dLbl>
            <c:dLbl>
              <c:idx val="2"/>
              <c:layout>
                <c:manualLayout>
                  <c:x val="-2.2413679757049831E-2"/>
                  <c:y val="-8.25039372660725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E17B-45FD-88FC-B4554E778154}"/>
                </c:ext>
              </c:extLst>
            </c:dLbl>
            <c:dLbl>
              <c:idx val="4"/>
              <c:layout>
                <c:manualLayout>
                  <c:x val="0.13728378851193021"/>
                  <c:y val="8.2503937266072566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E17B-45FD-88FC-B4554E7781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am/fm (home/car)</c:v>
                </c:pt>
                <c:pt idx="1">
                  <c:v>PC/laptop</c:v>
                </c:pt>
                <c:pt idx="2">
                  <c:v>Mobile device</c:v>
                </c:pt>
                <c:pt idx="3">
                  <c:v>Smart Speaker</c:v>
                </c:pt>
                <c:pt idx="4">
                  <c:v>TV Set</c:v>
                </c:pt>
              </c:strCache>
            </c:strRef>
          </c:cat>
          <c:val>
            <c:numRef>
              <c:f>Sheet1!$GH$2:$GH$6</c:f>
              <c:numCache>
                <c:formatCode>General</c:formatCode>
                <c:ptCount val="5"/>
                <c:pt idx="0">
                  <c:v>0.82199999999999995</c:v>
                </c:pt>
                <c:pt idx="1">
                  <c:v>2.4E-2</c:v>
                </c:pt>
                <c:pt idx="2">
                  <c:v>7.0999999999999994E-2</c:v>
                </c:pt>
                <c:pt idx="4">
                  <c:v>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E17B-45FD-88FC-B4554E778154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52"/>
        <c:holeSize val="39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01</c:v>
                </c:pt>
                <c:pt idx="1">
                  <c:v>84</c:v>
                </c:pt>
                <c:pt idx="2">
                  <c:v>81</c:v>
                </c:pt>
                <c:pt idx="3">
                  <c:v>61</c:v>
                </c:pt>
                <c:pt idx="4">
                  <c:v>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101</c:v>
                </c:pt>
                <c:pt idx="1">
                  <c:v>89</c:v>
                </c:pt>
                <c:pt idx="2">
                  <c:v>77</c:v>
                </c:pt>
                <c:pt idx="3">
                  <c:v>63</c:v>
                </c:pt>
                <c:pt idx="4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 Group</c:v>
                </c:pt>
                <c:pt idx="2">
                  <c:v>IRS
Plus</c:v>
                </c:pt>
                <c:pt idx="3">
                  <c:v>Onic Urban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50</c:v>
                </c:pt>
                <c:pt idx="1">
                  <c:v>223</c:v>
                </c:pt>
                <c:pt idx="2">
                  <c:v>112</c:v>
                </c:pt>
                <c:pt idx="3">
                  <c:v>1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 Group</c:v>
                </c:pt>
                <c:pt idx="2">
                  <c:v>IRS
Plus</c:v>
                </c:pt>
                <c:pt idx="3">
                  <c:v>Onic Urban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147</c:v>
                </c:pt>
                <c:pt idx="1">
                  <c:v>238</c:v>
                </c:pt>
                <c:pt idx="2">
                  <c:v>122</c:v>
                </c:pt>
                <c:pt idx="3">
                  <c:v>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3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 Group</c:v>
                </c:pt>
                <c:pt idx="2">
                  <c:v>IRS
Plus</c:v>
                </c:pt>
                <c:pt idx="3">
                  <c:v>Onic Urban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11</c:v>
                </c:pt>
                <c:pt idx="1">
                  <c:v>251</c:v>
                </c:pt>
                <c:pt idx="2">
                  <c:v>95</c:v>
                </c:pt>
                <c:pt idx="3">
                  <c:v>1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 Group</c:v>
                </c:pt>
                <c:pt idx="2">
                  <c:v>IRS
Plus</c:v>
                </c:pt>
                <c:pt idx="3">
                  <c:v>Onic Urban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97</c:v>
                </c:pt>
                <c:pt idx="1">
                  <c:v>243</c:v>
                </c:pt>
                <c:pt idx="2">
                  <c:v>94</c:v>
                </c:pt>
                <c:pt idx="3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40</c:v>
                </c:pt>
                <c:pt idx="1">
                  <c:v>124</c:v>
                </c:pt>
                <c:pt idx="2">
                  <c:v>101</c:v>
                </c:pt>
                <c:pt idx="3">
                  <c:v>67</c:v>
                </c:pt>
                <c:pt idx="4">
                  <c:v>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148</c:v>
                </c:pt>
                <c:pt idx="1">
                  <c:v>128</c:v>
                </c:pt>
                <c:pt idx="2">
                  <c:v>103</c:v>
                </c:pt>
                <c:pt idx="3">
                  <c:v>73</c:v>
                </c:pt>
                <c:pt idx="4">
                  <c:v>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5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 Group</c:v>
                </c:pt>
                <c:pt idx="2">
                  <c:v>IRS
Plus</c:v>
                </c:pt>
                <c:pt idx="3">
                  <c:v>Onic Urban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74</c:v>
                </c:pt>
                <c:pt idx="1">
                  <c:v>296</c:v>
                </c:pt>
                <c:pt idx="2">
                  <c:v>145</c:v>
                </c:pt>
                <c:pt idx="3">
                  <c:v>1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 Group</c:v>
                </c:pt>
                <c:pt idx="2">
                  <c:v>IRS
Plus</c:v>
                </c:pt>
                <c:pt idx="3">
                  <c:v>Onic Urban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178</c:v>
                </c:pt>
                <c:pt idx="1">
                  <c:v>294</c:v>
                </c:pt>
                <c:pt idx="2">
                  <c:v>161</c:v>
                </c:pt>
                <c:pt idx="3">
                  <c:v>1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19</c:v>
                </c:pt>
                <c:pt idx="1">
                  <c:v>159</c:v>
                </c:pt>
                <c:pt idx="2">
                  <c:v>83</c:v>
                </c:pt>
                <c:pt idx="3">
                  <c:v>46</c:v>
                </c:pt>
                <c:pt idx="4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133</c:v>
                </c:pt>
                <c:pt idx="1">
                  <c:v>155</c:v>
                </c:pt>
                <c:pt idx="2">
                  <c:v>72</c:v>
                </c:pt>
                <c:pt idx="3">
                  <c:v>43</c:v>
                </c:pt>
                <c:pt idx="4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05</c:v>
                </c:pt>
                <c:pt idx="1">
                  <c:v>79</c:v>
                </c:pt>
                <c:pt idx="2">
                  <c:v>81</c:v>
                </c:pt>
                <c:pt idx="3">
                  <c:v>73</c:v>
                </c:pt>
                <c:pt idx="4">
                  <c:v>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111</c:v>
                </c:pt>
                <c:pt idx="1">
                  <c:v>81</c:v>
                </c:pt>
                <c:pt idx="2">
                  <c:v>91</c:v>
                </c:pt>
                <c:pt idx="3">
                  <c:v>80</c:v>
                </c:pt>
                <c:pt idx="4">
                  <c:v>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5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 Group</c:v>
                </c:pt>
                <c:pt idx="2">
                  <c:v>IRS
Plus</c:v>
                </c:pt>
                <c:pt idx="3">
                  <c:v>Onic Urban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99</c:v>
                </c:pt>
                <c:pt idx="1">
                  <c:v>276</c:v>
                </c:pt>
                <c:pt idx="2">
                  <c:v>147</c:v>
                </c:pt>
                <c:pt idx="3">
                  <c:v>1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 Group</c:v>
                </c:pt>
                <c:pt idx="2">
                  <c:v>IRS
Plus</c:v>
                </c:pt>
                <c:pt idx="3">
                  <c:v>Onic Urban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04</c:v>
                </c:pt>
                <c:pt idx="1">
                  <c:v>287</c:v>
                </c:pt>
                <c:pt idx="2">
                  <c:v>166</c:v>
                </c:pt>
                <c:pt idx="3">
                  <c:v>1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6</c:v>
                </c:pt>
                <c:pt idx="1">
                  <c:v>43</c:v>
                </c:pt>
                <c:pt idx="2">
                  <c:v>66</c:v>
                </c:pt>
                <c:pt idx="3">
                  <c:v>114</c:v>
                </c:pt>
                <c:pt idx="4">
                  <c:v>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73</c:v>
                </c:pt>
                <c:pt idx="1">
                  <c:v>47</c:v>
                </c:pt>
                <c:pt idx="2">
                  <c:v>61</c:v>
                </c:pt>
                <c:pt idx="3">
                  <c:v>124</c:v>
                </c:pt>
                <c:pt idx="4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 Group</c:v>
                </c:pt>
                <c:pt idx="2">
                  <c:v>IRS
Plus</c:v>
                </c:pt>
                <c:pt idx="3">
                  <c:v>Onic Urban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54</c:v>
                </c:pt>
                <c:pt idx="1">
                  <c:v>293</c:v>
                </c:pt>
                <c:pt idx="2">
                  <c:v>168</c:v>
                </c:pt>
                <c:pt idx="3">
                  <c:v>1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 Group</c:v>
                </c:pt>
                <c:pt idx="2">
                  <c:v>IRS
Plus</c:v>
                </c:pt>
                <c:pt idx="3">
                  <c:v>Onic Urban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45</c:v>
                </c:pt>
                <c:pt idx="1">
                  <c:v>298</c:v>
                </c:pt>
                <c:pt idx="2">
                  <c:v>187</c:v>
                </c:pt>
                <c:pt idx="3">
                  <c:v>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RTE Radio 1</c:v>
                </c:pt>
                <c:pt idx="1">
                  <c:v>Today FM</c:v>
                </c:pt>
                <c:pt idx="2">
                  <c:v>Newstalk</c:v>
                </c:pt>
                <c:pt idx="3">
                  <c:v>RTE 2FM</c:v>
                </c:pt>
                <c:pt idx="4">
                  <c:v>RTE Lyric FM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 formatCode="#,##0">
                  <c:v>1384</c:v>
                </c:pt>
                <c:pt idx="1">
                  <c:v>973</c:v>
                </c:pt>
                <c:pt idx="2">
                  <c:v>861</c:v>
                </c:pt>
                <c:pt idx="3">
                  <c:v>762</c:v>
                </c:pt>
                <c:pt idx="4">
                  <c:v>3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RTE Radio 1</c:v>
                </c:pt>
                <c:pt idx="1">
                  <c:v>Today FM</c:v>
                </c:pt>
                <c:pt idx="2">
                  <c:v>Newstalk</c:v>
                </c:pt>
                <c:pt idx="3">
                  <c:v>RTE 2FM</c:v>
                </c:pt>
                <c:pt idx="4">
                  <c:v>RTE Lyric FM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 formatCode="#,##0">
                  <c:v>1376</c:v>
                </c:pt>
                <c:pt idx="1">
                  <c:v>930</c:v>
                </c:pt>
                <c:pt idx="2">
                  <c:v>832</c:v>
                </c:pt>
                <c:pt idx="3">
                  <c:v>653</c:v>
                </c:pt>
                <c:pt idx="4">
                  <c:v>3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3000"/>
          <c:min val="0"/>
        </c:scaling>
        <c:delete val="1"/>
        <c:axPos val="l"/>
        <c:numFmt formatCode="#,##0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9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0.11142036017273305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ll Adult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FC5-456C-A698-1C7C88735D6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FC5-456C-A698-1C7C88735D6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FC5-456C-A698-1C7C88735D6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FC5-456C-A698-1C7C88735D6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FC5-456C-A698-1C7C88735D6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FC5-456C-A698-1C7C88735D6E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AFC5-456C-A698-1C7C88735D6E}"/>
                </c:ext>
              </c:extLst>
            </c:dLbl>
            <c:dLbl>
              <c:idx val="4"/>
              <c:layout>
                <c:manualLayout>
                  <c:x val="-2.7853460967979635E-3"/>
                  <c:y val="-4.30603535780568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FC5-456C-A698-1C7C88735D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É 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38.700000000000003</c:v>
                </c:pt>
                <c:pt idx="1">
                  <c:v>30.8</c:v>
                </c:pt>
                <c:pt idx="2">
                  <c:v>17.600000000000001</c:v>
                </c:pt>
                <c:pt idx="3">
                  <c:v>12.2</c:v>
                </c:pt>
                <c:pt idx="4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FC5-456C-A698-1C7C88735D6E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AFC5-456C-A698-1C7C88735D6E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AFC5-456C-A698-1C7C88735D6E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AFC5-456C-A698-1C7C88735D6E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AFC5-456C-A698-1C7C88735D6E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AFC5-456C-A698-1C7C88735D6E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AFC5-456C-A698-1C7C88735D6E}"/>
              </c:ext>
            </c:extLst>
          </c:dPt>
          <c:dLbls>
            <c:dLbl>
              <c:idx val="0"/>
              <c:layout>
                <c:manualLayout>
                  <c:x val="3.1784746699090725E-2"/>
                  <c:y val="3.7627374517849116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AFC5-456C-A698-1C7C88735D6E}"/>
                </c:ext>
              </c:extLst>
            </c:dLbl>
            <c:dLbl>
              <c:idx val="1"/>
              <c:layout>
                <c:manualLayout>
                  <c:x val="5.0421343909752982E-2"/>
                  <c:y val="1.020288801044627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900" b="1" i="0" u="none" strike="noStrike" kern="1200" cap="none" baseline="0">
                      <a:solidFill>
                        <a:srgbClr val="7F7F7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36299704994564"/>
                      <c:h val="0.1068973277575261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0-AFC5-456C-A698-1C7C88735D6E}"/>
                </c:ext>
              </c:extLst>
            </c:dLbl>
            <c:dLbl>
              <c:idx val="2"/>
              <c:layout>
                <c:manualLayout>
                  <c:x val="-7.981661456753554E-2"/>
                  <c:y val="-3.2663143007418162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AFC5-456C-A698-1C7C88735D6E}"/>
                </c:ext>
              </c:extLst>
            </c:dLbl>
            <c:dLbl>
              <c:idx val="3"/>
              <c:layout>
                <c:manualLayout>
                  <c:x val="-9.2682939667429673E-2"/>
                  <c:y val="4.9955096019078764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AFC5-456C-A698-1C7C88735D6E}"/>
                </c:ext>
              </c:extLst>
            </c:dLbl>
            <c:dLbl>
              <c:idx val="4"/>
              <c:layout>
                <c:manualLayout>
                  <c:x val="-1.2009447367595773E-2"/>
                  <c:y val="2.5883680253140629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AFC5-456C-A698-1C7C88735D6E}"/>
                </c:ext>
              </c:extLst>
            </c:dLbl>
            <c:dLbl>
              <c:idx val="5"/>
              <c:layout>
                <c:manualLayout>
                  <c:x val="-3.7261570536038707E-2"/>
                  <c:y val="3.063049088379256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754221279737133"/>
                      <c:h val="8.30526569636771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8-AFC5-456C-A698-1C7C88735D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b" anchorCtr="0"/>
              <a:lstStyle/>
              <a:p>
                <a:pPr>
                  <a:defRPr sz="900" b="1" i="0" u="none" strike="noStrike" kern="1200" cap="none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É 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</c:v>
                </c:pt>
              </c:strCache>
            </c:strRef>
          </c:cat>
          <c:val>
            <c:numRef>
              <c:f>Sheet1!$GL$2:$GL$7</c:f>
              <c:numCache>
                <c:formatCode>General</c:formatCode>
                <c:ptCount val="6"/>
                <c:pt idx="0">
                  <c:v>38.700000000000003</c:v>
                </c:pt>
                <c:pt idx="1">
                  <c:v>30.8</c:v>
                </c:pt>
                <c:pt idx="2">
                  <c:v>17.600000000000001</c:v>
                </c:pt>
                <c:pt idx="3">
                  <c:v>12.2</c:v>
                </c:pt>
                <c:pt idx="4">
                  <c:v>0.7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AFC5-456C-A698-1C7C88735D6E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0.11142036017273305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HWKK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43-46ED-B721-0C1115502AF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443-46ED-B721-0C1115502AF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443-46ED-B721-0C1115502AF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443-46ED-B721-0C1115502AFB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443-46ED-B721-0C1115502AFB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B443-46ED-B721-0C1115502AFB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B443-46ED-B721-0C1115502A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É 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28.1</c:v>
                </c:pt>
                <c:pt idx="1">
                  <c:v>38</c:v>
                </c:pt>
                <c:pt idx="2">
                  <c:v>15.9</c:v>
                </c:pt>
                <c:pt idx="3">
                  <c:v>17.600000000000001</c:v>
                </c:pt>
                <c:pt idx="4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443-46ED-B721-0C1115502AFB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B443-46ED-B721-0C1115502AFB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B443-46ED-B721-0C1115502AFB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B443-46ED-B721-0C1115502AFB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B443-46ED-B721-0C1115502AFB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B443-46ED-B721-0C1115502AFB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B443-46ED-B721-0C1115502AFB}"/>
              </c:ext>
            </c:extLst>
          </c:dPt>
          <c:dLbls>
            <c:dLbl>
              <c:idx val="0"/>
              <c:layout>
                <c:manualLayout>
                  <c:x val="5.6852939803773928E-2"/>
                  <c:y val="6.4540095504134601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B443-46ED-B721-0C1115502AFB}"/>
                </c:ext>
              </c:extLst>
            </c:dLbl>
            <c:dLbl>
              <c:idx val="1"/>
              <c:layout>
                <c:manualLayout>
                  <c:x val="4.4626946754051967E-3"/>
                  <c:y val="-1.94013169856566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541016195142666"/>
                      <c:h val="9.074969516575481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0-B443-46ED-B721-0C1115502AFB}"/>
                </c:ext>
              </c:extLst>
            </c:dLbl>
            <c:dLbl>
              <c:idx val="2"/>
              <c:layout>
                <c:manualLayout>
                  <c:x val="-7.1460576277141502E-2"/>
                  <c:y val="-5.7504220211326311E-3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B443-46ED-B721-0C1115502AFB}"/>
                </c:ext>
              </c:extLst>
            </c:dLbl>
            <c:dLbl>
              <c:idx val="3"/>
              <c:layout>
                <c:manualLayout>
                  <c:x val="-8.9897593570631665E-2"/>
                  <c:y val="3.38074634273074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B443-46ED-B721-0C1115502AFB}"/>
                </c:ext>
              </c:extLst>
            </c:dLbl>
            <c:dLbl>
              <c:idx val="4"/>
              <c:layout>
                <c:manualLayout>
                  <c:x val="-3.4292216141979838E-2"/>
                  <c:y val="2.0501136055883523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B443-46ED-B721-0C1115502AFB}"/>
                </c:ext>
              </c:extLst>
            </c:dLbl>
            <c:dLbl>
              <c:idx val="5"/>
              <c:layout>
                <c:manualLayout>
                  <c:x val="-3.7261570536038707E-2"/>
                  <c:y val="3.063049088379256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754221279737133"/>
                      <c:h val="8.30526569636771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8-B443-46ED-B721-0C1115502A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b" anchorCtr="0"/>
              <a:lstStyle/>
              <a:p>
                <a:pPr>
                  <a:defRPr sz="900" b="1" i="0" u="none" strike="noStrike" kern="1200" cap="none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É 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</c:v>
                </c:pt>
              </c:strCache>
            </c:strRef>
          </c:cat>
          <c:val>
            <c:numRef>
              <c:f>Sheet1!$GL$2:$GL$7</c:f>
              <c:numCache>
                <c:formatCode>General</c:formatCode>
                <c:ptCount val="6"/>
                <c:pt idx="0">
                  <c:v>28.1</c:v>
                </c:pt>
                <c:pt idx="1">
                  <c:v>38</c:v>
                </c:pt>
                <c:pt idx="2">
                  <c:v>15.9</c:v>
                </c:pt>
                <c:pt idx="3">
                  <c:v>17.600000000000001</c:v>
                </c:pt>
                <c:pt idx="4">
                  <c:v>0.4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B443-46ED-B721-0C1115502AFB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6.2977462397419096E-2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ll Adult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528-491C-A9FE-BB14970E853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528-491C-A9FE-BB14970E853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528-491C-A9FE-BB14970E853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528-491C-A9FE-BB14970E8539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528-491C-A9FE-BB14970E8539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0528-491C-A9FE-BB14970E8539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0528-491C-A9FE-BB14970E8539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0528-491C-A9FE-BB14970E8539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0528-491C-A9FE-BB14970E853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  <c:pt idx="5">
                  <c:v>National</c:v>
                </c:pt>
                <c:pt idx="6">
                  <c:v>Other</c:v>
                </c:pt>
              </c:strCache>
            </c:strRef>
          </c:cat>
          <c:val>
            <c:numRef>
              <c:f>Sheet1!$B$2:$B$8</c:f>
              <c:numCache>
                <c:formatCode>0.0</c:formatCode>
                <c:ptCount val="7"/>
                <c:pt idx="0" formatCode="General">
                  <c:v>7.8</c:v>
                </c:pt>
                <c:pt idx="1">
                  <c:v>5.3</c:v>
                </c:pt>
                <c:pt idx="2">
                  <c:v>4.9000000000000004</c:v>
                </c:pt>
                <c:pt idx="3">
                  <c:v>8.4</c:v>
                </c:pt>
                <c:pt idx="4">
                  <c:v>4.4000000000000004</c:v>
                </c:pt>
                <c:pt idx="5">
                  <c:v>55.7</c:v>
                </c:pt>
                <c:pt idx="6">
                  <c:v>1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0528-491C-A9FE-BB14970E8539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0528-491C-A9FE-BB14970E8539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0528-491C-A9FE-BB14970E8539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0528-491C-A9FE-BB14970E8539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0528-491C-A9FE-BB14970E8539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A-0528-491C-A9FE-BB14970E8539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C-0528-491C-A9FE-BB14970E8539}"/>
              </c:ext>
            </c:extLst>
          </c:dPt>
          <c:dLbls>
            <c:dLbl>
              <c:idx val="0"/>
              <c:layout>
                <c:manualLayout>
                  <c:x val="2.8913676738263956E-2"/>
                  <c:y val="1.0765088394514212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0528-491C-A9FE-BB14970E8539}"/>
                </c:ext>
              </c:extLst>
            </c:dLbl>
            <c:dLbl>
              <c:idx val="1"/>
              <c:layout>
                <c:manualLayout>
                  <c:x val="5.4935985802701724E-2"/>
                  <c:y val="5.382544197257106E-3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0528-491C-A9FE-BB14970E8539}"/>
                </c:ext>
              </c:extLst>
            </c:dLbl>
            <c:dLbl>
              <c:idx val="2"/>
              <c:layout>
                <c:manualLayout>
                  <c:x val="2.6022309064437657E-2"/>
                  <c:y val="-1.0765088394514212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0528-491C-A9FE-BB14970E8539}"/>
                </c:ext>
              </c:extLst>
            </c:dLbl>
            <c:dLbl>
              <c:idx val="3"/>
              <c:layout>
                <c:manualLayout>
                  <c:x val="3.7587779759743284E-2"/>
                  <c:y val="-6.9973074564342333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0528-491C-A9FE-BB14970E8539}"/>
                </c:ext>
              </c:extLst>
            </c:dLbl>
            <c:dLbl>
              <c:idx val="4"/>
              <c:layout>
                <c:manualLayout>
                  <c:x val="5.6269885267343264E-2"/>
                  <c:y val="-6.4590530367085369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0528-491C-A9FE-BB14970E8539}"/>
                </c:ext>
              </c:extLst>
            </c:dLbl>
            <c:dLbl>
              <c:idx val="5"/>
              <c:layout>
                <c:manualLayout>
                  <c:x val="-5.4334376426474457E-2"/>
                  <c:y val="1.184180914515450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rgbClr val="7F7F7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752997517294133"/>
                      <c:h val="7.750863644050232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C-0528-491C-A9FE-BB14970E853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  <c:pt idx="5">
                  <c:v>National</c:v>
                </c:pt>
                <c:pt idx="6">
                  <c:v>Other</c:v>
                </c:pt>
              </c:strCache>
            </c:strRef>
          </c:cat>
          <c:val>
            <c:numRef>
              <c:f>Sheet1!$GL$2:$GL$7</c:f>
              <c:numCache>
                <c:formatCode>General</c:formatCode>
                <c:ptCount val="6"/>
                <c:pt idx="0">
                  <c:v>7.8</c:v>
                </c:pt>
                <c:pt idx="1">
                  <c:v>5.3</c:v>
                </c:pt>
                <c:pt idx="2">
                  <c:v>4.9000000000000004</c:v>
                </c:pt>
                <c:pt idx="3">
                  <c:v>8.4</c:v>
                </c:pt>
                <c:pt idx="4">
                  <c:v>4.4000000000000004</c:v>
                </c:pt>
                <c:pt idx="5">
                  <c:v>55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0528-491C-A9FE-BB14970E8539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rgbClr val="7F7F7F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5.7594918200161986E-2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HKWK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5F1-4C9C-8E0A-D2E06D7840B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5F1-4C9C-8E0A-D2E06D7840B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5F1-4C9C-8E0A-D2E06D7840B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5F1-4C9C-8E0A-D2E06D7840B3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5F1-4C9C-8E0A-D2E06D7840B3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15F1-4C9C-8E0A-D2E06D7840B3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15F1-4C9C-8E0A-D2E06D7840B3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15F1-4C9C-8E0A-D2E06D7840B3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15F1-4C9C-8E0A-D2E06D7840B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  <c:pt idx="5">
                  <c:v>National</c:v>
                </c:pt>
                <c:pt idx="6">
                  <c:v>Other</c:v>
                </c:pt>
              </c:strCache>
            </c:strRef>
          </c:cat>
          <c:val>
            <c:numRef>
              <c:f>Sheet1!$B$2:$B$8</c:f>
              <c:numCache>
                <c:formatCode>0.0</c:formatCode>
                <c:ptCount val="7"/>
                <c:pt idx="0">
                  <c:v>11.4</c:v>
                </c:pt>
                <c:pt idx="1">
                  <c:v>7.3</c:v>
                </c:pt>
                <c:pt idx="2">
                  <c:v>7.8</c:v>
                </c:pt>
                <c:pt idx="3">
                  <c:v>6.1</c:v>
                </c:pt>
                <c:pt idx="4">
                  <c:v>6.2</c:v>
                </c:pt>
                <c:pt idx="5">
                  <c:v>47.2</c:v>
                </c:pt>
                <c:pt idx="6">
                  <c:v>14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15F1-4C9C-8E0A-D2E06D7840B3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15F1-4C9C-8E0A-D2E06D7840B3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15F1-4C9C-8E0A-D2E06D7840B3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15F1-4C9C-8E0A-D2E06D7840B3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15F1-4C9C-8E0A-D2E06D7840B3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A-15F1-4C9C-8E0A-D2E06D7840B3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C-15F1-4C9C-8E0A-D2E06D7840B3}"/>
              </c:ext>
            </c:extLst>
          </c:dPt>
          <c:dPt>
            <c:idx val="6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E-15F1-4C9C-8E0A-D2E06D7840B3}"/>
              </c:ext>
            </c:extLst>
          </c:dPt>
          <c:dPt>
            <c:idx val="7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0-15F1-4C9C-8E0A-D2E06D7840B3}"/>
              </c:ext>
            </c:extLst>
          </c:dPt>
          <c:dLbls>
            <c:dLbl>
              <c:idx val="0"/>
              <c:layout>
                <c:manualLayout>
                  <c:x val="2.0239573716784844E-2"/>
                  <c:y val="1.614763259177131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15F1-4C9C-8E0A-D2E06D7840B3}"/>
                </c:ext>
              </c:extLst>
            </c:dLbl>
            <c:dLbl>
              <c:idx val="1"/>
              <c:layout>
                <c:manualLayout>
                  <c:x val="6.3610088824180941E-2"/>
                  <c:y val="3.229526518354258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15F1-4C9C-8E0A-D2E06D7840B3}"/>
                </c:ext>
              </c:extLst>
            </c:dLbl>
            <c:dLbl>
              <c:idx val="2"/>
              <c:layout>
                <c:manualLayout>
                  <c:x val="3.758777975974318E-2"/>
                  <c:y val="-3.2295265183542636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15F1-4C9C-8E0A-D2E06D7840B3}"/>
                </c:ext>
              </c:extLst>
            </c:dLbl>
            <c:dLbl>
              <c:idx val="3"/>
              <c:layout>
                <c:manualLayout>
                  <c:x val="6.0718721150354531E-2"/>
                  <c:y val="-5.920798616982826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15F1-4C9C-8E0A-D2E06D7840B3}"/>
                </c:ext>
              </c:extLst>
            </c:dLbl>
            <c:dLbl>
              <c:idx val="4"/>
              <c:layout>
                <c:manualLayout>
                  <c:x val="0.37154074608669324"/>
                  <c:y val="4.3060353578056751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5338603059613397E-2"/>
                      <c:h val="0.1275124720330208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A-15F1-4C9C-8E0A-D2E06D7840B3}"/>
                </c:ext>
              </c:extLst>
            </c:dLbl>
            <c:dLbl>
              <c:idx val="5"/>
              <c:layout>
                <c:manualLayout>
                  <c:x val="-2.8913676738264064E-2"/>
                  <c:y val="-1.0765088394514311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15F1-4C9C-8E0A-D2E06D7840B3}"/>
                </c:ext>
              </c:extLst>
            </c:dLbl>
            <c:dLbl>
              <c:idx val="6"/>
              <c:layout>
                <c:manualLayout>
                  <c:x val="-0.12432880997453548"/>
                  <c:y val="5.382544197257106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15F1-4C9C-8E0A-D2E06D7840B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  <c:pt idx="5">
                  <c:v>National</c:v>
                </c:pt>
                <c:pt idx="6">
                  <c:v>Other</c:v>
                </c:pt>
              </c:strCache>
            </c:strRef>
          </c:cat>
          <c:val>
            <c:numRef>
              <c:f>Sheet1!$GL$3:$GL$9</c:f>
              <c:numCache>
                <c:formatCode>General</c:formatCode>
                <c:ptCount val="7"/>
                <c:pt idx="0">
                  <c:v>7.3</c:v>
                </c:pt>
                <c:pt idx="1">
                  <c:v>7.8</c:v>
                </c:pt>
                <c:pt idx="2">
                  <c:v>6.1</c:v>
                </c:pt>
                <c:pt idx="3">
                  <c:v>6.2</c:v>
                </c:pt>
                <c:pt idx="4">
                  <c:v>47.2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15F1-4C9C-8E0A-D2E06D7840B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  <c:userShapes r:id="rId4"/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0.11142036017273305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15-3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E43-424B-A523-EAEFC0E8A7D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E43-424B-A523-EAEFC0E8A7D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E43-424B-A523-EAEFC0E8A7D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E43-424B-A523-EAEFC0E8A7D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E43-424B-A523-EAEFC0E8A7D2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9E43-424B-A523-EAEFC0E8A7D2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9E43-424B-A523-EAEFC0E8A7D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É 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18.2</c:v>
                </c:pt>
                <c:pt idx="1">
                  <c:v>42.8</c:v>
                </c:pt>
                <c:pt idx="2">
                  <c:v>16.5</c:v>
                </c:pt>
                <c:pt idx="3">
                  <c:v>21.8</c:v>
                </c:pt>
                <c:pt idx="4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E43-424B-A523-EAEFC0E8A7D2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9E43-424B-A523-EAEFC0E8A7D2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9E43-424B-A523-EAEFC0E8A7D2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9E43-424B-A523-EAEFC0E8A7D2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9E43-424B-A523-EAEFC0E8A7D2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9E43-424B-A523-EAEFC0E8A7D2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9E43-424B-A523-EAEFC0E8A7D2}"/>
              </c:ext>
            </c:extLst>
          </c:dPt>
          <c:dLbls>
            <c:dLbl>
              <c:idx val="0"/>
              <c:layout>
                <c:manualLayout>
                  <c:x val="2.2282768774384013E-2"/>
                  <c:y val="2.1530176789028424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9E43-424B-A523-EAEFC0E8A7D2}"/>
                </c:ext>
              </c:extLst>
            </c:dLbl>
            <c:dLbl>
              <c:idx val="1"/>
              <c:layout>
                <c:manualLayout>
                  <c:x val="0.17269156766077204"/>
                  <c:y val="-8.07379510476678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rgbClr val="7F7F7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819550804822459"/>
                      <c:h val="0.1068973277575261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0-9E43-424B-A523-EAEFC0E8A7D2}"/>
                </c:ext>
              </c:extLst>
            </c:dLbl>
            <c:dLbl>
              <c:idx val="2"/>
              <c:layout>
                <c:manualLayout>
                  <c:x val="-6.9633652419950384E-2"/>
                  <c:y val="-4.306035357805684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9E43-424B-A523-EAEFC0E8A7D2}"/>
                </c:ext>
              </c:extLst>
            </c:dLbl>
            <c:dLbl>
              <c:idx val="3"/>
              <c:layout>
                <c:manualLayout>
                  <c:x val="-6.6848306323152348E-2"/>
                  <c:y val="-5.3825441972572049E-3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9E43-424B-A523-EAEFC0E8A7D2}"/>
                </c:ext>
              </c:extLst>
            </c:dLbl>
            <c:dLbl>
              <c:idx val="4"/>
              <c:layout>
                <c:manualLayout>
                  <c:x val="-1.9497422677586151E-2"/>
                  <c:y val="2.691272098628553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9E43-424B-A523-EAEFC0E8A7D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É 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</c:v>
                </c:pt>
              </c:strCache>
            </c:strRef>
          </c:cat>
          <c:val>
            <c:numRef>
              <c:f>Sheet1!$GL$2:$GL$7</c:f>
              <c:numCache>
                <c:formatCode>General</c:formatCode>
                <c:ptCount val="6"/>
                <c:pt idx="0">
                  <c:v>18.2</c:v>
                </c:pt>
                <c:pt idx="1">
                  <c:v>42.8</c:v>
                </c:pt>
                <c:pt idx="2">
                  <c:v>16.5</c:v>
                </c:pt>
                <c:pt idx="3">
                  <c:v>21.8</c:v>
                </c:pt>
                <c:pt idx="4">
                  <c:v>0.8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9E43-424B-A523-EAEFC0E8A7D2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064161042349428"/>
          <c:y val="4.6829829805647774E-2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5-4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652-43CB-AE79-2AA93ED5F47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652-43CB-AE79-2AA93ED5F47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652-43CB-AE79-2AA93ED5F47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652-43CB-AE79-2AA93ED5F47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652-43CB-AE79-2AA93ED5F47A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652-43CB-AE79-2AA93ED5F47A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C652-43CB-AE79-2AA93ED5F47A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C652-43CB-AE79-2AA93ED5F47A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C652-43CB-AE79-2AA93ED5F4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  <c:pt idx="5">
                  <c:v>National</c:v>
                </c:pt>
                <c:pt idx="6">
                  <c:v>Other</c:v>
                </c:pt>
              </c:strCache>
            </c:strRef>
          </c:cat>
          <c:val>
            <c:numRef>
              <c:f>Sheet1!$B$2:$B$8</c:f>
              <c:numCache>
                <c:formatCode>0.0</c:formatCode>
                <c:ptCount val="7"/>
                <c:pt idx="0">
                  <c:v>13</c:v>
                </c:pt>
                <c:pt idx="1">
                  <c:v>9.6</c:v>
                </c:pt>
                <c:pt idx="2">
                  <c:v>9.1999999999999993</c:v>
                </c:pt>
                <c:pt idx="3">
                  <c:v>5.3</c:v>
                </c:pt>
                <c:pt idx="4">
                  <c:v>5.6</c:v>
                </c:pt>
                <c:pt idx="5">
                  <c:v>40.9</c:v>
                </c:pt>
                <c:pt idx="6">
                  <c:v>16.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C652-43CB-AE79-2AA93ED5F47A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C652-43CB-AE79-2AA93ED5F47A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C652-43CB-AE79-2AA93ED5F47A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C652-43CB-AE79-2AA93ED5F47A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C652-43CB-AE79-2AA93ED5F47A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A-C652-43CB-AE79-2AA93ED5F47A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C-C652-43CB-AE79-2AA93ED5F47A}"/>
              </c:ext>
            </c:extLst>
          </c:dPt>
          <c:dLbls>
            <c:dLbl>
              <c:idx val="0"/>
              <c:layout>
                <c:manualLayout>
                  <c:x val="-3.4696412085916985E-2"/>
                  <c:y val="-6.4590530367085272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C652-43CB-AE79-2AA93ED5F47A}"/>
                </c:ext>
              </c:extLst>
            </c:dLbl>
            <c:dLbl>
              <c:idx val="1"/>
              <c:layout>
                <c:manualLayout>
                  <c:x val="0.13878564834366749"/>
                  <c:y val="-0.44136862417508271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C652-43CB-AE79-2AA93ED5F47A}"/>
                </c:ext>
              </c:extLst>
            </c:dLbl>
            <c:dLbl>
              <c:idx val="2"/>
              <c:layout>
                <c:manualLayout>
                  <c:x val="0.34985548853299508"/>
                  <c:y val="-0.18838904690399871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C652-43CB-AE79-2AA93ED5F47A}"/>
                </c:ext>
              </c:extLst>
            </c:dLbl>
            <c:dLbl>
              <c:idx val="3"/>
              <c:layout>
                <c:manualLayout>
                  <c:x val="0.45048828825342041"/>
                  <c:y val="0.3014222631352089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900" b="1" i="0" u="none" strike="noStrike" kern="1200" baseline="0">
                      <a:solidFill>
                        <a:srgbClr val="7F7F7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527807785519711"/>
                      <c:h val="9.521720684947819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8-C652-43CB-AE79-2AA93ED5F47A}"/>
                </c:ext>
              </c:extLst>
            </c:dLbl>
            <c:dLbl>
              <c:idx val="4"/>
              <c:layout>
                <c:manualLayout>
                  <c:x val="0.21685257553698048"/>
                  <c:y val="0.5759322291065103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87091181670095"/>
                      <c:h val="0.1275124720330208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A-C652-43CB-AE79-2AA93ED5F4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  <c:pt idx="5">
                  <c:v>National</c:v>
                </c:pt>
                <c:pt idx="6">
                  <c:v>Other</c:v>
                </c:pt>
              </c:strCache>
            </c:strRef>
          </c:cat>
          <c:val>
            <c:numRef>
              <c:f>Sheet1!$GL$2:$GL$6</c:f>
              <c:numCache>
                <c:formatCode>General</c:formatCode>
                <c:ptCount val="5"/>
                <c:pt idx="0">
                  <c:v>13</c:v>
                </c:pt>
                <c:pt idx="1">
                  <c:v>9.6</c:v>
                </c:pt>
                <c:pt idx="2">
                  <c:v>9.1999999999999993</c:v>
                </c:pt>
                <c:pt idx="3">
                  <c:v>5.3</c:v>
                </c:pt>
                <c:pt idx="4">
                  <c:v>5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C652-43CB-AE79-2AA93ED5F47A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  <c:userShapes r:id="rId4"/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48588750758415"/>
          <c:y val="5.221237400290487E-2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15-3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662-4E39-9687-1EABBDCB49B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662-4E39-9687-1EABBDCB49B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662-4E39-9687-1EABBDCB49B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662-4E39-9687-1EABBDCB49B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662-4E39-9687-1EABBDCB49B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B662-4E39-9687-1EABBDCB49B0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B662-4E39-9687-1EABBDCB49B0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B662-4E39-9687-1EABBDCB49B0}"/>
              </c:ext>
            </c:extLst>
          </c:dPt>
          <c:dLbls>
            <c:dLbl>
              <c:idx val="2"/>
              <c:layout>
                <c:manualLayout>
                  <c:x val="2.8913676738263005E-3"/>
                  <c:y val="-9.8678837003367953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662-4E39-9687-1EABBDCB49B0}"/>
                </c:ext>
              </c:extLst>
            </c:dLbl>
            <c:dLbl>
              <c:idx val="3"/>
              <c:layout>
                <c:manualLayout>
                  <c:x val="-4.9153250455048911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662-4E39-9687-1EABBDCB49B0}"/>
                </c:ext>
              </c:extLst>
            </c:dLbl>
            <c:dLbl>
              <c:idx val="4"/>
              <c:layout>
                <c:manualLayout>
                  <c:x val="3.9033463596656486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8482157187951434E-2"/>
                      <c:h val="0.1119840439351229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B662-4E39-9687-1EABBDCB49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  <c:pt idx="5">
                  <c:v>National</c:v>
                </c:pt>
                <c:pt idx="6">
                  <c:v>Other</c:v>
                </c:pt>
              </c:strCache>
            </c:strRef>
          </c:cat>
          <c:val>
            <c:numRef>
              <c:f>Sheet1!$B$2:$B$8</c:f>
              <c:numCache>
                <c:formatCode>0.0</c:formatCode>
                <c:ptCount val="7"/>
                <c:pt idx="0">
                  <c:v>16.3</c:v>
                </c:pt>
                <c:pt idx="1">
                  <c:v>17.100000000000001</c:v>
                </c:pt>
                <c:pt idx="2">
                  <c:v>8</c:v>
                </c:pt>
                <c:pt idx="3">
                  <c:v>5.5</c:v>
                </c:pt>
                <c:pt idx="4">
                  <c:v>4.4000000000000004</c:v>
                </c:pt>
                <c:pt idx="5">
                  <c:v>33.299999999999997</c:v>
                </c:pt>
                <c:pt idx="6">
                  <c:v>1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B662-4E39-9687-1EABBDCB49B0}"/>
            </c:ext>
          </c:extLst>
        </c:ser>
        <c:ser>
          <c:idx val="1"/>
          <c:order val="1"/>
          <c:tx>
            <c:v>Labels</c:v>
          </c:tx>
          <c:spPr>
            <a:noFill/>
          </c:spPr>
          <c:explosion val="1"/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B662-4E39-9687-1EABBDCB49B0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B662-4E39-9687-1EABBDCB49B0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B662-4E39-9687-1EABBDCB49B0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B662-4E39-9687-1EABBDCB49B0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A-B662-4E39-9687-1EABBDCB49B0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C-B662-4E39-9687-1EABBDCB49B0}"/>
              </c:ext>
            </c:extLst>
          </c:dPt>
          <c:dLbls>
            <c:dLbl>
              <c:idx val="0"/>
              <c:layout>
                <c:manualLayout>
                  <c:x val="4.0479147433569687E-2"/>
                  <c:y val="-2.4669709250841988E-17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B662-4E39-9687-1EABBDCB49B0}"/>
                </c:ext>
              </c:extLst>
            </c:dLbl>
            <c:dLbl>
              <c:idx val="1"/>
              <c:layout>
                <c:manualLayout>
                  <c:x val="6.0718721150354427E-2"/>
                  <c:y val="-0.1237985165369135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B662-4E39-9687-1EABBDCB49B0}"/>
                </c:ext>
              </c:extLst>
            </c:dLbl>
            <c:dLbl>
              <c:idx val="2"/>
              <c:layout>
                <c:manualLayout>
                  <c:x val="0.12143744230070896"/>
                  <c:y val="-0.11841597233965634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B662-4E39-9687-1EABBDCB49B0}"/>
                </c:ext>
              </c:extLst>
            </c:dLbl>
            <c:dLbl>
              <c:idx val="3"/>
              <c:layout>
                <c:manualLayout>
                  <c:x val="0.16769932508193158"/>
                  <c:y val="-4.8442685864125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rgbClr val="7F7F7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58108977241294"/>
                      <c:h val="9.521720684947819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8-B662-4E39-9687-1EABBDCB49B0}"/>
                </c:ext>
              </c:extLst>
            </c:dLbl>
            <c:dLbl>
              <c:idx val="4"/>
              <c:layout>
                <c:manualLayout>
                  <c:x val="5.4935985802701724E-2"/>
                  <c:y val="-1.2779939978274864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B662-4E39-9687-1EABBDCB49B0}"/>
                </c:ext>
              </c:extLst>
            </c:dLbl>
            <c:dLbl>
              <c:idx val="5"/>
              <c:layout>
                <c:manualLayout>
                  <c:x val="-4.6261882781222528E-2"/>
                  <c:y val="0.19915413529851295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B662-4E39-9687-1EABBDCB49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  <c:pt idx="5">
                  <c:v>National</c:v>
                </c:pt>
                <c:pt idx="6">
                  <c:v>Other</c:v>
                </c:pt>
              </c:strCache>
            </c:strRef>
          </c:cat>
          <c:val>
            <c:numRef>
              <c:f>Sheet1!$GL$2:$GL$7</c:f>
              <c:numCache>
                <c:formatCode>General</c:formatCode>
                <c:ptCount val="6"/>
                <c:pt idx="0">
                  <c:v>16.3</c:v>
                </c:pt>
                <c:pt idx="1">
                  <c:v>17.100000000000001</c:v>
                </c:pt>
                <c:pt idx="2">
                  <c:v>8</c:v>
                </c:pt>
                <c:pt idx="3">
                  <c:v>5.5</c:v>
                </c:pt>
                <c:pt idx="4">
                  <c:v>4.4000000000000004</c:v>
                </c:pt>
                <c:pt idx="5">
                  <c:v>33.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B662-4E39-9687-1EABBDCB49B0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  <c:userShapes r:id="rId4"/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0.11142036017273305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5-44 %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FCA-42F2-8966-9BD64E20297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FCA-42F2-8966-9BD64E20297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FCA-42F2-8966-9BD64E20297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FCA-42F2-8966-9BD64E20297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FCA-42F2-8966-9BD64E20297A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FCA-42F2-8966-9BD64E20297A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2FCA-42F2-8966-9BD64E2029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É 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25.2</c:v>
                </c:pt>
                <c:pt idx="1">
                  <c:v>37.299999999999997</c:v>
                </c:pt>
                <c:pt idx="2">
                  <c:v>18.399999999999999</c:v>
                </c:pt>
                <c:pt idx="3">
                  <c:v>18.600000000000001</c:v>
                </c:pt>
                <c:pt idx="4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FCA-42F2-8966-9BD64E20297A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2FCA-42F2-8966-9BD64E20297A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2FCA-42F2-8966-9BD64E20297A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2FCA-42F2-8966-9BD64E20297A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2FCA-42F2-8966-9BD64E20297A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2FCA-42F2-8966-9BD64E20297A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2FCA-42F2-8966-9BD64E20297A}"/>
              </c:ext>
            </c:extLst>
          </c:dPt>
          <c:dLbls>
            <c:dLbl>
              <c:idx val="0"/>
              <c:layout>
                <c:manualLayout>
                  <c:x val="5.6852939803773928E-2"/>
                  <c:y val="6.4540095504134601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FCA-42F2-8966-9BD64E20297A}"/>
                </c:ext>
              </c:extLst>
            </c:dLbl>
            <c:dLbl>
              <c:idx val="1"/>
              <c:layout>
                <c:manualLayout>
                  <c:x val="0.16462031455988133"/>
                  <c:y val="-0.11090456833902738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262481585462863"/>
                      <c:h val="9.074969516575481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0-2FCA-42F2-8966-9BD64E20297A}"/>
                </c:ext>
              </c:extLst>
            </c:dLbl>
            <c:dLbl>
              <c:idx val="2"/>
              <c:layout>
                <c:manualLayout>
                  <c:x val="-5.7533845793151399E-2"/>
                  <c:y val="-2.7280598810161056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2FCA-42F2-8966-9BD64E20297A}"/>
                </c:ext>
              </c:extLst>
            </c:dLbl>
            <c:dLbl>
              <c:idx val="3"/>
              <c:layout>
                <c:manualLayout>
                  <c:x val="-8.9897593570631665E-2"/>
                  <c:y val="3.38074634273074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2FCA-42F2-8966-9BD64E20297A}"/>
                </c:ext>
              </c:extLst>
            </c:dLbl>
            <c:dLbl>
              <c:idx val="4"/>
              <c:layout>
                <c:manualLayout>
                  <c:x val="-3.4292216141979838E-2"/>
                  <c:y val="2.0501136055883523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2FCA-42F2-8966-9BD64E20297A}"/>
                </c:ext>
              </c:extLst>
            </c:dLbl>
            <c:dLbl>
              <c:idx val="5"/>
              <c:layout>
                <c:manualLayout>
                  <c:x val="-3.7261570536038707E-2"/>
                  <c:y val="3.063049088379256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754221279737133"/>
                      <c:h val="8.30526569636771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8-2FCA-42F2-8966-9BD64E2029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b" anchorCtr="0"/>
              <a:lstStyle/>
              <a:p>
                <a:pPr>
                  <a:defRPr sz="900" b="1" i="0" u="none" strike="noStrike" kern="1200" cap="none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É 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</c:v>
                </c:pt>
              </c:strCache>
            </c:strRef>
          </c:cat>
          <c:val>
            <c:numRef>
              <c:f>Sheet1!$GL$2:$GL$7</c:f>
              <c:numCache>
                <c:formatCode>General</c:formatCode>
                <c:ptCount val="6"/>
                <c:pt idx="0">
                  <c:v>25.2</c:v>
                </c:pt>
                <c:pt idx="1">
                  <c:v>37.299999999999997</c:v>
                </c:pt>
                <c:pt idx="2">
                  <c:v>18.399999999999999</c:v>
                </c:pt>
                <c:pt idx="3">
                  <c:v>18.600000000000001</c:v>
                </c:pt>
                <c:pt idx="4">
                  <c:v>0.5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2FCA-42F2-8966-9BD64E20297A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0.11142036017273305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15-3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64A-46DD-B80B-54D3D97E542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64A-46DD-B80B-54D3D97E542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64A-46DD-B80B-54D3D97E542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64A-46DD-B80B-54D3D97E542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64A-46DD-B80B-54D3D97E5426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64A-46DD-B80B-54D3D97E5426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E64A-46DD-B80B-54D3D97E5426}"/>
                </c:ext>
              </c:extLst>
            </c:dLbl>
            <c:dLbl>
              <c:idx val="4"/>
              <c:layout>
                <c:manualLayout>
                  <c:x val="-5.1064088544588597E-17"/>
                  <c:y val="-2.15301767890284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64A-46DD-B80B-54D3D97E54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É 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27.2</c:v>
                </c:pt>
                <c:pt idx="1">
                  <c:v>36.200000000000003</c:v>
                </c:pt>
                <c:pt idx="2">
                  <c:v>20.3</c:v>
                </c:pt>
                <c:pt idx="3">
                  <c:v>16.100000000000001</c:v>
                </c:pt>
                <c:pt idx="4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64A-46DD-B80B-54D3D97E5426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E64A-46DD-B80B-54D3D97E5426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E64A-46DD-B80B-54D3D97E5426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E64A-46DD-B80B-54D3D97E5426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E64A-46DD-B80B-54D3D97E5426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E64A-46DD-B80B-54D3D97E5426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E64A-46DD-B80B-54D3D97E5426}"/>
              </c:ext>
            </c:extLst>
          </c:dPt>
          <c:dLbls>
            <c:dLbl>
              <c:idx val="0"/>
              <c:layout>
                <c:manualLayout>
                  <c:x val="2.2282768774384013E-2"/>
                  <c:y val="2.1530176789028424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E64A-46DD-B80B-54D3D97E5426}"/>
                </c:ext>
              </c:extLst>
            </c:dLbl>
            <c:dLbl>
              <c:idx val="1"/>
              <c:layout>
                <c:manualLayout>
                  <c:x val="0.11837731877321075"/>
                  <c:y val="-1.614742068058254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rgbClr val="7F7F7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527393220906235"/>
                      <c:h val="0.1068973277575261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0-E64A-46DD-B80B-54D3D97E5426}"/>
                </c:ext>
              </c:extLst>
            </c:dLbl>
            <c:dLbl>
              <c:idx val="2"/>
              <c:layout>
                <c:manualLayout>
                  <c:x val="-5.2921575839162245E-2"/>
                  <c:y val="-5.382544197257106E-3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E64A-46DD-B80B-54D3D97E5426}"/>
                </c:ext>
              </c:extLst>
            </c:dLbl>
            <c:dLbl>
              <c:idx val="3"/>
              <c:layout>
                <c:manualLayout>
                  <c:x val="-6.6848306323152348E-2"/>
                  <c:y val="-5.3825441972572049E-3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E64A-46DD-B80B-54D3D97E5426}"/>
                </c:ext>
              </c:extLst>
            </c:dLbl>
            <c:dLbl>
              <c:idx val="4"/>
              <c:layout>
                <c:manualLayout>
                  <c:x val="-1.9497422677586151E-2"/>
                  <c:y val="2.691272098628553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E64A-46DD-B80B-54D3D97E54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É 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</c:v>
                </c:pt>
              </c:strCache>
            </c:strRef>
          </c:cat>
          <c:val>
            <c:numRef>
              <c:f>Sheet1!$GL$2:$GL$7</c:f>
              <c:numCache>
                <c:formatCode>General</c:formatCode>
                <c:ptCount val="6"/>
                <c:pt idx="0">
                  <c:v>27.2</c:v>
                </c:pt>
                <c:pt idx="1">
                  <c:v>36.200000000000003</c:v>
                </c:pt>
                <c:pt idx="2">
                  <c:v>20.3</c:v>
                </c:pt>
                <c:pt idx="3">
                  <c:v>16.100000000000001</c:v>
                </c:pt>
                <c:pt idx="4">
                  <c:v>0.3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E64A-46DD-B80B-54D3D97E5426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064161042349428"/>
          <c:y val="4.6829829805647774E-2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45+ %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075-4978-8104-8CB5D533608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075-4978-8104-8CB5D533608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075-4978-8104-8CB5D533608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075-4978-8104-8CB5D533608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075-4978-8104-8CB5D533608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075-4978-8104-8CB5D5336080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2075-4978-8104-8CB5D5336080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2075-4978-8104-8CB5D5336080}"/>
              </c:ext>
            </c:extLst>
          </c:dPt>
          <c:dLbls>
            <c:dLbl>
              <c:idx val="0"/>
              <c:layout>
                <c:manualLayout>
                  <c:x val="0"/>
                  <c:y val="-1.076508839451423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5590789514125017E-2"/>
                      <c:h val="0.1119840439351229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2075-4978-8104-8CB5D5336080}"/>
                </c:ext>
              </c:extLst>
            </c:dLbl>
            <c:dLbl>
              <c:idx val="1"/>
              <c:layout>
                <c:manualLayout>
                  <c:x val="3.1805044412090366E-2"/>
                  <c:y val="-4.30603535780568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075-4978-8104-8CB5D5336080}"/>
                </c:ext>
              </c:extLst>
            </c:dLbl>
            <c:dLbl>
              <c:idx val="2"/>
              <c:layout>
                <c:manualLayout>
                  <c:x val="2.313094139061125E-2"/>
                  <c:y val="-2.4669709250841988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075-4978-8104-8CB5D5336080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2075-4978-8104-8CB5D5336080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2075-4978-8104-8CB5D5336080}"/>
                </c:ext>
              </c:extLst>
            </c:dLbl>
            <c:dLbl>
              <c:idx val="6"/>
              <c:layout>
                <c:manualLayout>
                  <c:x val="-1.1565470695305679E-2"/>
                  <c:y val="-2.4669709250841988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075-4978-8104-8CB5D53360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  <c:pt idx="5">
                  <c:v>National</c:v>
                </c:pt>
                <c:pt idx="6">
                  <c:v>Other</c:v>
                </c:pt>
              </c:strCache>
            </c:strRef>
          </c:cat>
          <c:val>
            <c:numRef>
              <c:f>Sheet1!$B$2:$B$8</c:f>
              <c:numCache>
                <c:formatCode>0.0</c:formatCode>
                <c:ptCount val="7"/>
                <c:pt idx="0">
                  <c:v>4</c:v>
                </c:pt>
                <c:pt idx="1">
                  <c:v>1.5</c:v>
                </c:pt>
                <c:pt idx="2">
                  <c:v>2.7</c:v>
                </c:pt>
                <c:pt idx="3">
                  <c:v>10.4</c:v>
                </c:pt>
                <c:pt idx="4">
                  <c:v>3.8</c:v>
                </c:pt>
                <c:pt idx="5">
                  <c:v>65.599999999999994</c:v>
                </c:pt>
                <c:pt idx="6">
                  <c:v>1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2075-4978-8104-8CB5D5336080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2075-4978-8104-8CB5D5336080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2075-4978-8104-8CB5D5336080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2075-4978-8104-8CB5D5336080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2075-4978-8104-8CB5D5336080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A-2075-4978-8104-8CB5D5336080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C-2075-4978-8104-8CB5D5336080}"/>
              </c:ext>
            </c:extLst>
          </c:dPt>
          <c:dLbls>
            <c:dLbl>
              <c:idx val="0"/>
              <c:layout>
                <c:manualLayout>
                  <c:x val="-7.5175559519486568E-2"/>
                  <c:y val="-1.076508839451423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2075-4978-8104-8CB5D5336080}"/>
                </c:ext>
              </c:extLst>
            </c:dLbl>
            <c:dLbl>
              <c:idx val="1"/>
              <c:layout>
                <c:manualLayout>
                  <c:x val="-1.4456838369132032E-2"/>
                  <c:y val="-0.2132017280085985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2075-4978-8104-8CB5D5336080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2075-4978-8104-8CB5D5336080}"/>
                </c:ext>
              </c:extLst>
            </c:dLbl>
            <c:dLbl>
              <c:idx val="3"/>
              <c:layout>
                <c:manualLayout>
                  <c:x val="0.38109546408158668"/>
                  <c:y val="-0.4675326629310962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900" b="1" i="0" u="none" strike="noStrike" kern="1200" baseline="0">
                      <a:solidFill>
                        <a:srgbClr val="7F7F7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527807785519711"/>
                      <c:h val="9.521720684947819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8-2075-4978-8104-8CB5D5336080}"/>
                </c:ext>
              </c:extLst>
            </c:dLbl>
            <c:dLbl>
              <c:idx val="4"/>
              <c:layout>
                <c:manualLayout>
                  <c:x val="0.28046277819453441"/>
                  <c:y val="0.22606685628479847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8229970733439786E-2"/>
                      <c:h val="0.1275124720330208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A-2075-4978-8104-8CB5D53360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  <c:pt idx="5">
                  <c:v>National</c:v>
                </c:pt>
                <c:pt idx="6">
                  <c:v>Other</c:v>
                </c:pt>
              </c:strCache>
            </c:strRef>
          </c:cat>
          <c:val>
            <c:numRef>
              <c:f>Sheet1!$GL$2:$GL$6</c:f>
              <c:numCache>
                <c:formatCode>General</c:formatCode>
                <c:ptCount val="5"/>
                <c:pt idx="0">
                  <c:v>4</c:v>
                </c:pt>
                <c:pt idx="1">
                  <c:v>1.5</c:v>
                </c:pt>
                <c:pt idx="2">
                  <c:v>2.7</c:v>
                </c:pt>
                <c:pt idx="3">
                  <c:v>10.4</c:v>
                </c:pt>
                <c:pt idx="4">
                  <c:v>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2075-4978-8104-8CB5D5336080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230286405492739E-2"/>
          <c:y val="0.12621901737646055"/>
          <c:w val="0.95145721728130794"/>
          <c:h val="0.4785411845239154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1.7008000724246205E-3"/>
                  <c:y val="3.0669032680307842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823382760101212"/>
                      <c:h val="0.1607725897360561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816A-46E0-9F74-969104CC6E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
Group</c:v>
                </c:pt>
                <c:pt idx="2">
                  <c:v>IRS
Plus</c:v>
                </c:pt>
                <c:pt idx="3">
                  <c:v>Onic 
Urban</c:v>
                </c:pt>
              </c:strCache>
            </c:strRef>
          </c:cat>
          <c:val>
            <c:numRef>
              <c:f>Sheet1!$B$2:$B$5</c:f>
              <c:numCache>
                <c:formatCode>#,##0</c:formatCode>
                <c:ptCount val="4"/>
                <c:pt idx="0">
                  <c:v>2005</c:v>
                </c:pt>
                <c:pt idx="1">
                  <c:v>2394</c:v>
                </c:pt>
                <c:pt idx="2">
                  <c:v>1344</c:v>
                </c:pt>
                <c:pt idx="3">
                  <c:v>9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6A-46E0-9F74-969104CC6E9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
Group</c:v>
                </c:pt>
                <c:pt idx="2">
                  <c:v>IRS
Plus</c:v>
                </c:pt>
                <c:pt idx="3">
                  <c:v>Onic 
Urban</c:v>
                </c:pt>
              </c:strCache>
            </c:strRef>
          </c:cat>
          <c:val>
            <c:numRef>
              <c:f>Sheet1!$C$2:$C$5</c:f>
              <c:numCache>
                <c:formatCode>#,##0</c:formatCode>
                <c:ptCount val="4"/>
                <c:pt idx="0">
                  <c:v>1973</c:v>
                </c:pt>
                <c:pt idx="1">
                  <c:v>2411</c:v>
                </c:pt>
                <c:pt idx="2">
                  <c:v>1398</c:v>
                </c:pt>
                <c:pt idx="3">
                  <c:v>1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16A-46E0-9F74-969104CC6E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3000"/>
          <c:min val="0"/>
        </c:scaling>
        <c:delete val="1"/>
        <c:axPos val="l"/>
        <c:numFmt formatCode="#,##0" sourceLinked="1"/>
        <c:majorTickMark val="out"/>
        <c:minorTickMark val="none"/>
        <c:tickLblPos val="nextTo"/>
        <c:crossAx val="161290112"/>
        <c:crosses val="autoZero"/>
        <c:crossBetween val="between"/>
        <c:majorUnit val="1000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6154750843503092"/>
          <c:y val="0.87024672091743882"/>
          <c:w val="0.26367141935381916"/>
          <c:h val="0.129753316702539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5.221237400290487E-2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35-5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D9-4E83-985B-B85B89D8C97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2D9-4E83-985B-B85B89D8C97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2D9-4E83-985B-B85B89D8C97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2D9-4E83-985B-B85B89D8C97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2D9-4E83-985B-B85B89D8C975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2D9-4E83-985B-B85B89D8C975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2D9-4E83-985B-B85B89D8C975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2D9-4E83-985B-B85B89D8C975}"/>
              </c:ext>
            </c:extLst>
          </c:dPt>
          <c:dLbls>
            <c:dLbl>
              <c:idx val="2"/>
              <c:layout>
                <c:manualLayout>
                  <c:x val="2.8913676738263005E-3"/>
                  <c:y val="-9.8678837003367953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2D9-4E83-985B-B85B89D8C975}"/>
                </c:ext>
              </c:extLst>
            </c:dLbl>
            <c:dLbl>
              <c:idx val="3"/>
              <c:layout>
                <c:manualLayout>
                  <c:x val="-2.8913676738264592E-3"/>
                  <c:y val="1.61476325917713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2D9-4E83-985B-B85B89D8C975}"/>
                </c:ext>
              </c:extLst>
            </c:dLbl>
            <c:dLbl>
              <c:idx val="4"/>
              <c:layout>
                <c:manualLayout>
                  <c:x val="2.8913676738264063E-3"/>
                  <c:y val="1.07650883945142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2D9-4E83-985B-B85B89D8C9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  <c:pt idx="5">
                  <c:v>National</c:v>
                </c:pt>
                <c:pt idx="6">
                  <c:v>Other</c:v>
                </c:pt>
              </c:strCache>
            </c:strRef>
          </c:cat>
          <c:val>
            <c:numRef>
              <c:f>Sheet1!$B$2:$B$8</c:f>
              <c:numCache>
                <c:formatCode>0.0</c:formatCode>
                <c:ptCount val="7"/>
                <c:pt idx="0">
                  <c:v>10.199999999999999</c:v>
                </c:pt>
                <c:pt idx="1">
                  <c:v>5.3</c:v>
                </c:pt>
                <c:pt idx="2">
                  <c:v>7.7</c:v>
                </c:pt>
                <c:pt idx="3">
                  <c:v>7.1</c:v>
                </c:pt>
                <c:pt idx="4">
                  <c:v>6</c:v>
                </c:pt>
                <c:pt idx="5">
                  <c:v>46.1</c:v>
                </c:pt>
                <c:pt idx="6">
                  <c:v>1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82D9-4E83-985B-B85B89D8C975}"/>
            </c:ext>
          </c:extLst>
        </c:ser>
        <c:ser>
          <c:idx val="1"/>
          <c:order val="1"/>
          <c:tx>
            <c:v>Labels</c:v>
          </c:tx>
          <c:spPr>
            <a:noFill/>
          </c:spPr>
          <c:explosion val="1"/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82D9-4E83-985B-B85B89D8C975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82D9-4E83-985B-B85B89D8C975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82D9-4E83-985B-B85B89D8C975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82D9-4E83-985B-B85B89D8C975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A-82D9-4E83-985B-B85B89D8C975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C-82D9-4E83-985B-B85B89D8C975}"/>
              </c:ext>
            </c:extLst>
          </c:dPt>
          <c:dLbls>
            <c:dLbl>
              <c:idx val="0"/>
              <c:layout>
                <c:manualLayout>
                  <c:x val="4.6261882781222396E-2"/>
                  <c:y val="2.691272098628553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82D9-4E83-985B-B85B89D8C975}"/>
                </c:ext>
              </c:extLst>
            </c:dLbl>
            <c:dLbl>
              <c:idx val="1"/>
              <c:layout>
                <c:manualLayout>
                  <c:x val="4.6261882781222501E-2"/>
                  <c:y val="-2.153017678902844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82D9-4E83-985B-B85B89D8C975}"/>
                </c:ext>
              </c:extLst>
            </c:dLbl>
            <c:dLbl>
              <c:idx val="2"/>
              <c:layout>
                <c:manualLayout>
                  <c:x val="1.4456838369131926E-2"/>
                  <c:y val="-7.5355618761599491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82D9-4E83-985B-B85B89D8C975}"/>
                </c:ext>
              </c:extLst>
            </c:dLbl>
            <c:dLbl>
              <c:idx val="3"/>
              <c:layout>
                <c:manualLayout>
                  <c:x val="0.10698060393157703"/>
                  <c:y val="-0.1211070325270960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rgbClr val="7F7F7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58108977241294"/>
                      <c:h val="0.100599751046735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8-82D9-4E83-985B-B85B89D8C975}"/>
                </c:ext>
              </c:extLst>
            </c:dLbl>
            <c:dLbl>
              <c:idx val="4"/>
              <c:layout>
                <c:manualLayout>
                  <c:x val="6.9392824171833747E-2"/>
                  <c:y val="-0.12043082392341709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82D9-4E83-985B-B85B89D8C975}"/>
                </c:ext>
              </c:extLst>
            </c:dLbl>
            <c:dLbl>
              <c:idx val="5"/>
              <c:layout>
                <c:manualLayout>
                  <c:x val="-1.4456838369132032E-2"/>
                  <c:y val="0.13994614912868467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82D9-4E83-985B-B85B89D8C9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FM104</c:v>
                </c:pt>
                <c:pt idx="1">
                  <c:v>Spin 1038</c:v>
                </c:pt>
                <c:pt idx="2">
                  <c:v>98FM</c:v>
                </c:pt>
                <c:pt idx="3">
                  <c:v>Sunshine 106.8</c:v>
                </c:pt>
                <c:pt idx="4">
                  <c:v>Q102</c:v>
                </c:pt>
                <c:pt idx="5">
                  <c:v>National</c:v>
                </c:pt>
                <c:pt idx="6">
                  <c:v>Other</c:v>
                </c:pt>
              </c:strCache>
            </c:strRef>
          </c:cat>
          <c:val>
            <c:numRef>
              <c:f>Sheet1!$GL$2:$GL$7</c:f>
              <c:numCache>
                <c:formatCode>General</c:formatCode>
                <c:ptCount val="6"/>
                <c:pt idx="0">
                  <c:v>10.199999999999999</c:v>
                </c:pt>
                <c:pt idx="1">
                  <c:v>5.3</c:v>
                </c:pt>
                <c:pt idx="2">
                  <c:v>7.7</c:v>
                </c:pt>
                <c:pt idx="3">
                  <c:v>7.1</c:v>
                </c:pt>
                <c:pt idx="4">
                  <c:v>6</c:v>
                </c:pt>
                <c:pt idx="5">
                  <c:v>46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82D9-4E83-985B-B85B89D8C97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  <c:userShapes r:id="rId4"/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0.11142036017273305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45+ %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379-4414-A147-7A65E6E61FE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379-4414-A147-7A65E6E61FE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379-4414-A147-7A65E6E61FE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379-4414-A147-7A65E6E61FE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379-4414-A147-7A65E6E61FE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379-4414-A147-7A65E6E61FE8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C379-4414-A147-7A65E6E61FE8}"/>
                </c:ext>
              </c:extLst>
            </c:dLbl>
            <c:dLbl>
              <c:idx val="4"/>
              <c:layout>
                <c:manualLayout>
                  <c:x val="2.5068114871182129E-2"/>
                  <c:y val="-2.3712389256607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379-4414-A147-7A65E6E61F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É 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47.6</c:v>
                </c:pt>
                <c:pt idx="1">
                  <c:v>26.4</c:v>
                </c:pt>
                <c:pt idx="2">
                  <c:v>17.399999999999999</c:v>
                </c:pt>
                <c:pt idx="3">
                  <c:v>7.8</c:v>
                </c:pt>
                <c:pt idx="4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C379-4414-A147-7A65E6E61FE8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C379-4414-A147-7A65E6E61FE8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C379-4414-A147-7A65E6E61FE8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C379-4414-A147-7A65E6E61FE8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C379-4414-A147-7A65E6E61FE8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C379-4414-A147-7A65E6E61FE8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C379-4414-A147-7A65E6E61FE8}"/>
              </c:ext>
            </c:extLst>
          </c:dPt>
          <c:dLbls>
            <c:dLbl>
              <c:idx val="0"/>
              <c:layout>
                <c:manualLayout>
                  <c:x val="3.1784746699090725E-2"/>
                  <c:y val="1.0714452421184259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C379-4414-A147-7A65E6E61FE8}"/>
                </c:ext>
              </c:extLst>
            </c:dLbl>
            <c:dLbl>
              <c:idx val="1"/>
              <c:layout>
                <c:manualLayout>
                  <c:x val="-0.15708715962028935"/>
                  <c:y val="-4.631403797194221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85618556282743"/>
                      <c:h val="9.074969516575481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0-C379-4414-A147-7A65E6E61FE8}"/>
                </c:ext>
              </c:extLst>
            </c:dLbl>
            <c:dLbl>
              <c:idx val="2"/>
              <c:layout>
                <c:manualLayout>
                  <c:x val="-7.7031268470737532E-2"/>
                  <c:y val="-1.6515510415646844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C379-4414-A147-7A65E6E61FE8}"/>
                </c:ext>
              </c:extLst>
            </c:dLbl>
            <c:dLbl>
              <c:idx val="3"/>
              <c:layout>
                <c:manualLayout>
                  <c:x val="-8.9897593570631665E-2"/>
                  <c:y val="3.38074634273074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C379-4414-A147-7A65E6E61FE8}"/>
                </c:ext>
              </c:extLst>
            </c:dLbl>
            <c:dLbl>
              <c:idx val="4"/>
              <c:layout>
                <c:manualLayout>
                  <c:x val="-3.4292216141979838E-2"/>
                  <c:y val="2.0501136055883523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C379-4414-A147-7A65E6E61FE8}"/>
                </c:ext>
              </c:extLst>
            </c:dLbl>
            <c:dLbl>
              <c:idx val="5"/>
              <c:layout>
                <c:manualLayout>
                  <c:x val="-3.7261570536038707E-2"/>
                  <c:y val="3.063049088379256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754221279737133"/>
                      <c:h val="8.30526569636771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8-C379-4414-A147-7A65E6E61F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b" anchorCtr="0"/>
              <a:lstStyle/>
              <a:p>
                <a:pPr>
                  <a:defRPr sz="900" b="1" i="0" u="none" strike="noStrike" kern="1200" cap="none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TÉ </c:v>
                </c:pt>
                <c:pt idx="1">
                  <c:v>Media Central Group</c:v>
                </c:pt>
                <c:pt idx="2">
                  <c:v>IRS Plus</c:v>
                </c:pt>
                <c:pt idx="3">
                  <c:v>Onic Urban</c:v>
                </c:pt>
                <c:pt idx="4">
                  <c:v>Other</c:v>
                </c:pt>
              </c:strCache>
            </c:strRef>
          </c:cat>
          <c:val>
            <c:numRef>
              <c:f>Sheet1!$GL$2:$GL$7</c:f>
              <c:numCache>
                <c:formatCode>General</c:formatCode>
                <c:ptCount val="6"/>
                <c:pt idx="0">
                  <c:v>47.6</c:v>
                </c:pt>
                <c:pt idx="1">
                  <c:v>26.4</c:v>
                </c:pt>
                <c:pt idx="2">
                  <c:v>17.399999999999999</c:v>
                </c:pt>
                <c:pt idx="3">
                  <c:v>7.8</c:v>
                </c:pt>
                <c:pt idx="4">
                  <c:v>0.7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C379-4414-A147-7A65E6E61FE8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Cork's RED FM</c:v>
                </c:pt>
                <c:pt idx="1">
                  <c:v>Cork's 96FM</c:v>
                </c:pt>
                <c:pt idx="2">
                  <c:v>C10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74</c:v>
                </c:pt>
                <c:pt idx="1">
                  <c:v>150</c:v>
                </c:pt>
                <c:pt idx="2">
                  <c:v>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ork's RED FM</c:v>
                </c:pt>
                <c:pt idx="1">
                  <c:v>Cork's 96FM</c:v>
                </c:pt>
                <c:pt idx="2">
                  <c:v>C10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67</c:v>
                </c:pt>
                <c:pt idx="1">
                  <c:v>150</c:v>
                </c:pt>
                <c:pt idx="2">
                  <c:v>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RTE</c:v>
                </c:pt>
                <c:pt idx="1">
                  <c:v> Media
Central Group</c:v>
                </c:pt>
                <c:pt idx="2">
                  <c:v>Onic Urban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3</c:v>
                </c:pt>
                <c:pt idx="1">
                  <c:v>97</c:v>
                </c:pt>
                <c:pt idx="2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RTE</c:v>
                </c:pt>
                <c:pt idx="1">
                  <c:v> Media
Central Group</c:v>
                </c:pt>
                <c:pt idx="2">
                  <c:v>Onic Urban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53</c:v>
                </c:pt>
                <c:pt idx="1">
                  <c:v>118</c:v>
                </c:pt>
                <c:pt idx="2">
                  <c:v>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RTE</c:v>
                </c:pt>
                <c:pt idx="1">
                  <c:v>Media
Central Group</c:v>
                </c:pt>
                <c:pt idx="2">
                  <c:v>Onic Urban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95</c:v>
                </c:pt>
                <c:pt idx="1">
                  <c:v>294</c:v>
                </c:pt>
                <c:pt idx="2">
                  <c:v>2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RTE</c:v>
                </c:pt>
                <c:pt idx="1">
                  <c:v>Media
Central Group</c:v>
                </c:pt>
                <c:pt idx="2">
                  <c:v>Onic Urban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88</c:v>
                </c:pt>
                <c:pt idx="1">
                  <c:v>300</c:v>
                </c:pt>
                <c:pt idx="2">
                  <c:v>2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6828714969210164E-2"/>
          <c:y val="7.9479411571671377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Cork's RED FM</c:v>
                </c:pt>
                <c:pt idx="1">
                  <c:v>Cork's 96FM</c:v>
                </c:pt>
                <c:pt idx="2">
                  <c:v>C10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59</c:v>
                </c:pt>
                <c:pt idx="1">
                  <c:v>51</c:v>
                </c:pt>
                <c:pt idx="2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ork's RED FM</c:v>
                </c:pt>
                <c:pt idx="1">
                  <c:v>Cork's 96FM</c:v>
                </c:pt>
                <c:pt idx="2">
                  <c:v>C10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68</c:v>
                </c:pt>
                <c:pt idx="1">
                  <c:v>56</c:v>
                </c:pt>
                <c:pt idx="2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RTE</c:v>
                </c:pt>
                <c:pt idx="1">
                  <c:v> Media
Central Group</c:v>
                </c:pt>
                <c:pt idx="2">
                  <c:v>Onic Urban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55</c:v>
                </c:pt>
                <c:pt idx="1">
                  <c:v>97</c:v>
                </c:pt>
                <c:pt idx="2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RTE</c:v>
                </c:pt>
                <c:pt idx="1">
                  <c:v> Media
Central Group</c:v>
                </c:pt>
                <c:pt idx="2">
                  <c:v>Onic Urban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52</c:v>
                </c:pt>
                <c:pt idx="1">
                  <c:v>114</c:v>
                </c:pt>
                <c:pt idx="2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RTE</c:v>
                </c:pt>
                <c:pt idx="1">
                  <c:v> Media
Central Group</c:v>
                </c:pt>
                <c:pt idx="2">
                  <c:v>Onic Urban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56</c:v>
                </c:pt>
                <c:pt idx="1">
                  <c:v>109</c:v>
                </c:pt>
                <c:pt idx="2">
                  <c:v>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RTE</c:v>
                </c:pt>
                <c:pt idx="1">
                  <c:v> Media
Central Group</c:v>
                </c:pt>
                <c:pt idx="2">
                  <c:v>Onic Urban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54</c:v>
                </c:pt>
                <c:pt idx="1">
                  <c:v>114</c:v>
                </c:pt>
                <c:pt idx="2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Cork's RED FM</c:v>
                </c:pt>
                <c:pt idx="1">
                  <c:v>Cork's 96FM</c:v>
                </c:pt>
                <c:pt idx="2">
                  <c:v>C10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72</c:v>
                </c:pt>
                <c:pt idx="1">
                  <c:v>47</c:v>
                </c:pt>
                <c:pt idx="2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ork's RED FM</c:v>
                </c:pt>
                <c:pt idx="1">
                  <c:v>Cork's 96FM</c:v>
                </c:pt>
                <c:pt idx="2">
                  <c:v>C10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75</c:v>
                </c:pt>
                <c:pt idx="1">
                  <c:v>46</c:v>
                </c:pt>
                <c:pt idx="2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Cork's RED FM</c:v>
                </c:pt>
                <c:pt idx="1">
                  <c:v>Cork's 96FM</c:v>
                </c:pt>
                <c:pt idx="2">
                  <c:v>C10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5</c:v>
                </c:pt>
                <c:pt idx="1">
                  <c:v>54</c:v>
                </c:pt>
                <c:pt idx="2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ork's RED FM</c:v>
                </c:pt>
                <c:pt idx="1">
                  <c:v>Cork's 96FM</c:v>
                </c:pt>
                <c:pt idx="2">
                  <c:v>C10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69</c:v>
                </c:pt>
                <c:pt idx="1">
                  <c:v>48</c:v>
                </c:pt>
                <c:pt idx="2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RTE Radio 1</c:v>
                </c:pt>
                <c:pt idx="1">
                  <c:v>Today FM</c:v>
                </c:pt>
                <c:pt idx="2">
                  <c:v>Newstalk</c:v>
                </c:pt>
                <c:pt idx="3">
                  <c:v>RTE 2FM</c:v>
                </c:pt>
                <c:pt idx="4">
                  <c:v>RTE Lyric FM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0</c:v>
                </c:pt>
                <c:pt idx="1">
                  <c:v>390</c:v>
                </c:pt>
                <c:pt idx="2">
                  <c:v>278</c:v>
                </c:pt>
                <c:pt idx="3">
                  <c:v>290</c:v>
                </c:pt>
                <c:pt idx="4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4E-4650-8A80-1693D2E3D7F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RTE Radio 1</c:v>
                </c:pt>
                <c:pt idx="1">
                  <c:v>Today FM</c:v>
                </c:pt>
                <c:pt idx="2">
                  <c:v>Newstalk</c:v>
                </c:pt>
                <c:pt idx="3">
                  <c:v>RTE 2FM</c:v>
                </c:pt>
                <c:pt idx="4">
                  <c:v>RTE Lyric FM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326</c:v>
                </c:pt>
                <c:pt idx="1">
                  <c:v>343</c:v>
                </c:pt>
                <c:pt idx="2">
                  <c:v>264</c:v>
                </c:pt>
                <c:pt idx="3">
                  <c:v>226</c:v>
                </c:pt>
                <c:pt idx="4">
                  <c:v>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C4E-4650-8A80-1693D2E3D7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3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113790756593548"/>
          <c:y val="0.87024672091743882"/>
          <c:w val="0.26367141935381916"/>
          <c:h val="0.129753316702539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RTE</c:v>
                </c:pt>
                <c:pt idx="1">
                  <c:v>Media
Central Group</c:v>
                </c:pt>
                <c:pt idx="2">
                  <c:v>Onic Urban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55</c:v>
                </c:pt>
                <c:pt idx="1">
                  <c:v>122</c:v>
                </c:pt>
                <c:pt idx="2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RTE</c:v>
                </c:pt>
                <c:pt idx="1">
                  <c:v>Media
Central Group</c:v>
                </c:pt>
                <c:pt idx="2">
                  <c:v>Onic Urban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60</c:v>
                </c:pt>
                <c:pt idx="1">
                  <c:v>118</c:v>
                </c:pt>
                <c:pt idx="2">
                  <c:v>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RTE</c:v>
                </c:pt>
                <c:pt idx="1">
                  <c:v> Media
Central Group</c:v>
                </c:pt>
                <c:pt idx="2">
                  <c:v>Onic Urban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11</c:v>
                </c:pt>
                <c:pt idx="1">
                  <c:v>134</c:v>
                </c:pt>
                <c:pt idx="2">
                  <c:v>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RTE</c:v>
                </c:pt>
                <c:pt idx="1">
                  <c:v> Media
Central Group</c:v>
                </c:pt>
                <c:pt idx="2">
                  <c:v>Onic Urban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06</c:v>
                </c:pt>
                <c:pt idx="1">
                  <c:v>126</c:v>
                </c:pt>
                <c:pt idx="2">
                  <c:v>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Cork's RED FM</c:v>
                </c:pt>
                <c:pt idx="1">
                  <c:v>Cork's 96 FM</c:v>
                </c:pt>
                <c:pt idx="2">
                  <c:v>C10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3</c:v>
                </c:pt>
                <c:pt idx="1">
                  <c:v>56</c:v>
                </c:pt>
                <c:pt idx="2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ork's RED FM</c:v>
                </c:pt>
                <c:pt idx="1">
                  <c:v>Cork's 96 FM</c:v>
                </c:pt>
                <c:pt idx="2">
                  <c:v>C10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62</c:v>
                </c:pt>
                <c:pt idx="1">
                  <c:v>56</c:v>
                </c:pt>
                <c:pt idx="2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Cork's RED FM</c:v>
                </c:pt>
                <c:pt idx="1">
                  <c:v>Cork's 96 FM</c:v>
                </c:pt>
                <c:pt idx="2">
                  <c:v>C10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70</c:v>
                </c:pt>
                <c:pt idx="1">
                  <c:v>73</c:v>
                </c:pt>
                <c:pt idx="2">
                  <c:v>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ork's RED FM</c:v>
                </c:pt>
                <c:pt idx="1">
                  <c:v>Cork's 96 FM</c:v>
                </c:pt>
                <c:pt idx="2">
                  <c:v>C10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58</c:v>
                </c:pt>
                <c:pt idx="1">
                  <c:v>77</c:v>
                </c:pt>
                <c:pt idx="2">
                  <c:v>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9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064161042349428"/>
          <c:y val="5.7594918200161986E-2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ll Adult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D94-4E81-9188-D01FB8C14D8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D94-4E81-9188-D01FB8C14D8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D94-4E81-9188-D01FB8C14D8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D94-4E81-9188-D01FB8C14D8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D94-4E81-9188-D01FB8C14D87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D94-4E81-9188-D01FB8C14D87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2D94-4E81-9188-D01FB8C14D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Cork's RED FM</c:v>
                </c:pt>
                <c:pt idx="1">
                  <c:v>Cork's 96FM</c:v>
                </c:pt>
                <c:pt idx="2">
                  <c:v>C103</c:v>
                </c:pt>
                <c:pt idx="3">
                  <c:v>National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 formatCode="0.0">
                  <c:v>20.5</c:v>
                </c:pt>
                <c:pt idx="1">
                  <c:v>16.899999999999999</c:v>
                </c:pt>
                <c:pt idx="2" formatCode="0.0">
                  <c:v>13.2</c:v>
                </c:pt>
                <c:pt idx="3" formatCode="0.0">
                  <c:v>36.9</c:v>
                </c:pt>
                <c:pt idx="4" formatCode="0.0">
                  <c:v>1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D94-4E81-9188-D01FB8C14D87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2D94-4E81-9188-D01FB8C14D87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2D94-4E81-9188-D01FB8C14D87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2D94-4E81-9188-D01FB8C14D87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2D94-4E81-9188-D01FB8C14D87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2D94-4E81-9188-D01FB8C14D87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2D94-4E81-9188-D01FB8C14D87}"/>
              </c:ext>
            </c:extLst>
          </c:dPt>
          <c:dLbls>
            <c:dLbl>
              <c:idx val="0"/>
              <c:layout>
                <c:manualLayout>
                  <c:x val="9.3969335565985121E-2"/>
                  <c:y val="-0.25836212146834109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487819259923706"/>
                      <c:h val="0.1399461491286847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E-2D94-4E81-9188-D01FB8C14D87}"/>
                </c:ext>
              </c:extLst>
            </c:dLbl>
            <c:dLbl>
              <c:idx val="3"/>
              <c:layout>
                <c:manualLayout>
                  <c:x val="-8.9632397888618626E-2"/>
                  <c:y val="0.23144940048205556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2D94-4E81-9188-D01FB8C14D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Cork's RED FM</c:v>
                </c:pt>
                <c:pt idx="1">
                  <c:v>Cork's 96FM</c:v>
                </c:pt>
                <c:pt idx="2">
                  <c:v>C103</c:v>
                </c:pt>
                <c:pt idx="3">
                  <c:v>National</c:v>
                </c:pt>
                <c:pt idx="4">
                  <c:v>Other</c:v>
                </c:pt>
              </c:strCache>
            </c:strRef>
          </c:cat>
          <c:val>
            <c:numRef>
              <c:f>Sheet1!$GL$3:$GL$6</c:f>
              <c:numCache>
                <c:formatCode>General</c:formatCode>
                <c:ptCount val="4"/>
                <c:pt idx="0">
                  <c:v>16.899999999999999</c:v>
                </c:pt>
                <c:pt idx="3">
                  <c:v>1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2D94-4E81-9188-D01FB8C14D87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rgbClr val="7F7F7F"/>
          </a:solidFill>
        </a:defRPr>
      </a:pPr>
      <a:endParaRPr lang="en-US"/>
    </a:p>
  </c:txPr>
  <c:externalData r:id="rId3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0.11142036017273305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HWKK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5A2-4543-A196-F0352A49890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5A2-4543-A196-F0352A498901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5A2-4543-A196-F0352A498901}"/>
              </c:ext>
            </c:extLst>
          </c:dPt>
          <c:dPt>
            <c:idx val="3"/>
            <c:bubble3D val="0"/>
            <c:spPr>
              <a:solidFill>
                <a:srgbClr val="6E6E7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5A2-4543-A196-F0352A49890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5A2-4543-A196-F0352A498901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45A2-4543-A196-F0352A498901}"/>
              </c:ext>
            </c:extLst>
          </c:dPt>
          <c:dLbls>
            <c:dLbl>
              <c:idx val="3"/>
              <c:layout>
                <c:manualLayout>
                  <c:x val="-2.7853460967980142E-3"/>
                  <c:y val="-2.15301767890284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5A2-4543-A196-F0352A4989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 Group</c:v>
                </c:pt>
                <c:pt idx="2">
                  <c:v>Onic Urban</c:v>
                </c:pt>
                <c:pt idx="3">
                  <c:v>Other </c:v>
                </c:pt>
              </c:strCache>
            </c:strRef>
          </c:cat>
          <c:val>
            <c:numRef>
              <c:f>Sheet1!$B$2:$B$5</c:f>
              <c:numCache>
                <c:formatCode>0.0</c:formatCode>
                <c:ptCount val="4"/>
                <c:pt idx="0">
                  <c:v>15.2</c:v>
                </c:pt>
                <c:pt idx="1">
                  <c:v>58.8</c:v>
                </c:pt>
                <c:pt idx="2">
                  <c:v>24.8</c:v>
                </c:pt>
                <c:pt idx="3">
                  <c:v>1.1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5A2-4543-A196-F0352A498901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45A2-4543-A196-F0352A498901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45A2-4543-A196-F0352A498901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45A2-4543-A196-F0352A498901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45A2-4543-A196-F0352A498901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45A2-4543-A196-F0352A498901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45A2-4543-A196-F0352A498901}"/>
              </c:ext>
            </c:extLst>
          </c:dPt>
          <c:dLbls>
            <c:dLbl>
              <c:idx val="0"/>
              <c:layout>
                <c:manualLayout>
                  <c:x val="3.8994845355172204E-2"/>
                  <c:y val="4.306035357805684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5A2-4543-A196-F0352A498901}"/>
                </c:ext>
              </c:extLst>
            </c:dLbl>
            <c:dLbl>
              <c:idx val="1"/>
              <c:layout>
                <c:manualLayout>
                  <c:x val="0.15737194480979266"/>
                  <c:y val="-8.612070715611369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000" b="1" i="0" u="none" strike="noStrike" kern="1200" baseline="0">
                      <a:solidFill>
                        <a:srgbClr val="7F7F7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070839466029411"/>
                      <c:h val="0.1607227697300971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0-45A2-4543-A196-F0352A498901}"/>
                </c:ext>
              </c:extLst>
            </c:dLbl>
            <c:dLbl>
              <c:idx val="2"/>
              <c:layout>
                <c:manualLayout>
                  <c:x val="-0.10862849777512258"/>
                  <c:y val="8.0738162958856594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45A2-4543-A196-F0352A498901}"/>
                </c:ext>
              </c:extLst>
            </c:dLbl>
            <c:dLbl>
              <c:idx val="3"/>
              <c:layout>
                <c:manualLayout>
                  <c:x val="-8.9131075097536455E-2"/>
                  <c:y val="4.844289777531395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45A2-4543-A196-F0352A498901}"/>
                </c:ext>
              </c:extLst>
            </c:dLbl>
            <c:dLbl>
              <c:idx val="4"/>
              <c:layout>
                <c:manualLayout>
                  <c:x val="-8.6345729000738503E-2"/>
                  <c:y val="5.3825441972571039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45A2-4543-A196-F0352A498901}"/>
                </c:ext>
              </c:extLst>
            </c:dLbl>
            <c:dLbl>
              <c:idx val="5"/>
              <c:layout>
                <c:manualLayout>
                  <c:x val="-5.2921575839162273E-2"/>
                  <c:y val="4.306035357805682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45A2-4543-A196-F0352A4989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 Group</c:v>
                </c:pt>
                <c:pt idx="2">
                  <c:v>Onic Urban</c:v>
                </c:pt>
                <c:pt idx="3">
                  <c:v>Other </c:v>
                </c:pt>
              </c:strCache>
            </c:strRef>
          </c:cat>
          <c:val>
            <c:numRef>
              <c:f>Sheet1!$GL$2:$GL$6</c:f>
              <c:numCache>
                <c:formatCode>General</c:formatCode>
                <c:ptCount val="5"/>
                <c:pt idx="0">
                  <c:v>15.2</c:v>
                </c:pt>
                <c:pt idx="1">
                  <c:v>58.8</c:v>
                </c:pt>
                <c:pt idx="2">
                  <c:v>24.8</c:v>
                </c:pt>
                <c:pt idx="3">
                  <c:v>1.1000000000000001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45A2-4543-A196-F0352A498901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rgbClr val="7F7F7F"/>
          </a:solidFill>
        </a:defRPr>
      </a:pPr>
      <a:endParaRPr lang="en-US"/>
    </a:p>
  </c:txPr>
  <c:externalData r:id="rId3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0.11142036017273305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ll Adult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DB6-4F2C-A93F-25F4725C7B0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DB6-4F2C-A93F-25F4725C7B01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DB6-4F2C-A93F-25F4725C7B01}"/>
              </c:ext>
            </c:extLst>
          </c:dPt>
          <c:dPt>
            <c:idx val="3"/>
            <c:bubble3D val="0"/>
            <c:spPr>
              <a:solidFill>
                <a:srgbClr val="6E6E7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DB6-4F2C-A93F-25F4725C7B0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DB6-4F2C-A93F-25F4725C7B01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9DB6-4F2C-A93F-25F4725C7B0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 Media Central Group</c:v>
                </c:pt>
                <c:pt idx="2">
                  <c:v>Onic Urban</c:v>
                </c:pt>
                <c:pt idx="3">
                  <c:v>Other </c:v>
                </c:pt>
              </c:strCache>
            </c:strRef>
          </c:cat>
          <c:val>
            <c:numRef>
              <c:f>Sheet1!$B$2:$B$5</c:f>
              <c:numCache>
                <c:formatCode>0.0</c:formatCode>
                <c:ptCount val="4"/>
                <c:pt idx="0">
                  <c:v>23.5</c:v>
                </c:pt>
                <c:pt idx="1">
                  <c:v>45.3</c:v>
                </c:pt>
                <c:pt idx="2">
                  <c:v>30.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DB6-4F2C-A93F-25F4725C7B01}"/>
            </c:ext>
          </c:extLst>
        </c:ser>
        <c:ser>
          <c:idx val="1"/>
          <c:order val="1"/>
          <c:tx>
            <c:v>Labels</c:v>
          </c:tx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9DB6-4F2C-A93F-25F4725C7B01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9DB6-4F2C-A93F-25F4725C7B01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9DB6-4F2C-A93F-25F4725C7B01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9DB6-4F2C-A93F-25F4725C7B0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9DB6-4F2C-A93F-25F4725C7B01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9DB6-4F2C-A93F-25F4725C7B01}"/>
              </c:ext>
            </c:extLst>
          </c:dPt>
          <c:dLbls>
            <c:dLbl>
              <c:idx val="0"/>
              <c:layout>
                <c:manualLayout>
                  <c:x val="3.6209499258374189E-2"/>
                  <c:y val="-1.614763259177131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9DB6-4F2C-A93F-25F4725C7B01}"/>
                </c:ext>
              </c:extLst>
            </c:dLbl>
            <c:dLbl>
              <c:idx val="1"/>
              <c:layout>
                <c:manualLayout>
                  <c:x val="0.15319414498318595"/>
                  <c:y val="-8.0738162958856691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5758880703188031"/>
                      <c:h val="0.1607227697300971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0-9DB6-4F2C-A93F-25F4725C7B01}"/>
                </c:ext>
              </c:extLst>
            </c:dLbl>
            <c:dLbl>
              <c:idx val="2"/>
              <c:layout>
                <c:manualLayout>
                  <c:x val="-7.2418998516748406E-2"/>
                  <c:y val="4.8442897775313909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9DB6-4F2C-A93F-25F4725C7B01}"/>
                </c:ext>
              </c:extLst>
            </c:dLbl>
            <c:dLbl>
              <c:idx val="3"/>
              <c:layout>
                <c:manualLayout>
                  <c:x val="-8.9131075097536483E-2"/>
                  <c:y val="6.997307456434238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9DB6-4F2C-A93F-25F4725C7B01}"/>
                </c:ext>
              </c:extLst>
            </c:dLbl>
            <c:dLbl>
              <c:idx val="4"/>
              <c:layout>
                <c:manualLayout>
                  <c:x val="-7.5204344613546387E-2"/>
                  <c:y val="4.3060353578056799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9DB6-4F2C-A93F-25F4725C7B01}"/>
                </c:ext>
              </c:extLst>
            </c:dLbl>
            <c:dLbl>
              <c:idx val="5"/>
              <c:layout>
                <c:manualLayout>
                  <c:x val="-6.4062960226354382E-2"/>
                  <c:y val="4.306035357805682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9DB6-4F2C-A93F-25F4725C7B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 Media Central Group</c:v>
                </c:pt>
                <c:pt idx="2">
                  <c:v>Onic Urban</c:v>
                </c:pt>
                <c:pt idx="3">
                  <c:v>Other </c:v>
                </c:pt>
              </c:strCache>
            </c:strRef>
          </c:cat>
          <c:val>
            <c:numRef>
              <c:f>Sheet1!$GL$2:$GL$6</c:f>
              <c:numCache>
                <c:formatCode>General</c:formatCode>
                <c:ptCount val="5"/>
                <c:pt idx="0">
                  <c:v>23.5</c:v>
                </c:pt>
                <c:pt idx="1">
                  <c:v>45.3</c:v>
                </c:pt>
                <c:pt idx="2">
                  <c:v>30.1</c:v>
                </c:pt>
                <c:pt idx="3">
                  <c:v>1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9DB6-4F2C-A93F-25F4725C7B01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rgbClr val="7F7F7F"/>
          </a:solidFill>
        </a:defRPr>
      </a:pPr>
      <a:endParaRPr lang="en-US"/>
    </a:p>
  </c:txPr>
  <c:externalData r:id="rId3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5.221237400290487E-2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HKWK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84E-4471-8159-440091B111B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84E-4471-8159-440091B111B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84E-4471-8159-440091B111B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84E-4471-8159-440091B111B9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84E-4471-8159-440091B111B9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84E-4471-8159-440091B111B9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E84E-4471-8159-440091B111B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Cork's RED FM</c:v>
                </c:pt>
                <c:pt idx="1">
                  <c:v>Cork's 96FM</c:v>
                </c:pt>
                <c:pt idx="2">
                  <c:v>C103</c:v>
                </c:pt>
                <c:pt idx="3">
                  <c:v>National 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 formatCode="General">
                  <c:v>28.6</c:v>
                </c:pt>
                <c:pt idx="1">
                  <c:v>19.100000000000001</c:v>
                </c:pt>
                <c:pt idx="2" formatCode="General">
                  <c:v>5.7</c:v>
                </c:pt>
                <c:pt idx="3" formatCode="General">
                  <c:v>32.299999999999997</c:v>
                </c:pt>
                <c:pt idx="4">
                  <c:v>1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84E-4471-8159-440091B111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E84E-4471-8159-440091B111B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E84E-4471-8159-440091B111B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E84E-4471-8159-440091B111B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E84E-4471-8159-440091B111B9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E84E-4471-8159-440091B111B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Cork's RED FM</c:v>
                </c:pt>
                <c:pt idx="1">
                  <c:v>Cork's 96FM</c:v>
                </c:pt>
                <c:pt idx="2">
                  <c:v>C103</c:v>
                </c:pt>
                <c:pt idx="3">
                  <c:v>National </c:v>
                </c:pt>
                <c:pt idx="4">
                  <c:v>Other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17-E84E-4471-8159-440091B111B9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rgbClr val="7F7F7F"/>
          </a:solidFill>
        </a:defRPr>
      </a:pPr>
      <a:endParaRPr lang="en-US"/>
    </a:p>
  </c:txPr>
  <c:externalData r:id="rId3">
    <c:autoUpdate val="0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5.221237400290487E-2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5-4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793-4C12-BF6C-5DBEBA4411E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793-4C12-BF6C-5DBEBA4411E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793-4C12-BF6C-5DBEBA4411E9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793-4C12-BF6C-5DBEBA4411E9}"/>
              </c:ext>
            </c:extLst>
          </c:dPt>
          <c:dPt>
            <c:idx val="4"/>
            <c:bubble3D val="0"/>
            <c:spPr>
              <a:solidFill>
                <a:srgbClr val="0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793-4C12-BF6C-5DBEBA4411E9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1793-4C12-BF6C-5DBEBA4411E9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1793-4C12-BF6C-5DBEBA4411E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Cork's RED FM</c:v>
                </c:pt>
                <c:pt idx="1">
                  <c:v>Cork's 96FM</c:v>
                </c:pt>
                <c:pt idx="2">
                  <c:v>C103</c:v>
                </c:pt>
                <c:pt idx="3">
                  <c:v>National 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 formatCode="0.0">
                  <c:v>28.5</c:v>
                </c:pt>
                <c:pt idx="1">
                  <c:v>17.600000000000001</c:v>
                </c:pt>
                <c:pt idx="2" formatCode="0.0">
                  <c:v>7.8</c:v>
                </c:pt>
                <c:pt idx="3" formatCode="0.0">
                  <c:v>33.9</c:v>
                </c:pt>
                <c:pt idx="4" formatCode="0.0">
                  <c:v>1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793-4C12-BF6C-5DBEBA4411E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AF7C-4196-A888-CAD9E123544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AF7C-4196-A888-CAD9E123544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AF7C-4196-A888-CAD9E123544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AF7C-4196-A888-CAD9E123544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AF7C-4196-A888-CAD9E12354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Cork's RED FM</c:v>
                </c:pt>
                <c:pt idx="1">
                  <c:v>Cork's 96FM</c:v>
                </c:pt>
                <c:pt idx="2">
                  <c:v>C103</c:v>
                </c:pt>
                <c:pt idx="3">
                  <c:v>National </c:v>
                </c:pt>
                <c:pt idx="4">
                  <c:v>Other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16-248A-4B62-B14B-FE15816FEA89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rgbClr val="7F7F7F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0.11142036017273305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5-3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F49-4024-A0A7-60D966C0F9F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F49-4024-A0A7-60D966C0F9F8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F49-4024-A0A7-60D966C0F9F8}"/>
              </c:ext>
            </c:extLst>
          </c:dPt>
          <c:dPt>
            <c:idx val="3"/>
            <c:bubble3D val="0"/>
            <c:spPr>
              <a:solidFill>
                <a:srgbClr val="6E6E7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F49-4024-A0A7-60D966C0F9F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F49-4024-A0A7-60D966C0F9F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0F49-4024-A0A7-60D966C0F9F8}"/>
              </c:ext>
            </c:extLst>
          </c:dPt>
          <c:dLbls>
            <c:dLbl>
              <c:idx val="3"/>
              <c:layout>
                <c:manualLayout>
                  <c:x val="-1.9497422677586102E-2"/>
                  <c:y val="-1.07650883945142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F49-4024-A0A7-60D966C0F9F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 Group</c:v>
                </c:pt>
                <c:pt idx="2">
                  <c:v>Onic Urban</c:v>
                </c:pt>
                <c:pt idx="3">
                  <c:v>Other </c:v>
                </c:pt>
              </c:strCache>
            </c:strRef>
          </c:cat>
          <c:val>
            <c:numRef>
              <c:f>Sheet1!$B$2:$B$5</c:f>
              <c:numCache>
                <c:formatCode>0.0</c:formatCode>
                <c:ptCount val="4"/>
                <c:pt idx="0">
                  <c:v>17.600000000000001</c:v>
                </c:pt>
                <c:pt idx="1">
                  <c:v>56</c:v>
                </c:pt>
                <c:pt idx="2">
                  <c:v>25.4</c:v>
                </c:pt>
                <c:pt idx="3">
                  <c:v>1.1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F49-4024-A0A7-60D966C0F9F8}"/>
            </c:ext>
          </c:extLst>
        </c:ser>
        <c:ser>
          <c:idx val="1"/>
          <c:order val="1"/>
          <c:tx>
            <c:v>Labels</c:v>
          </c:tx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0F49-4024-A0A7-60D966C0F9F8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0F49-4024-A0A7-60D966C0F9F8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0F49-4024-A0A7-60D966C0F9F8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0F49-4024-A0A7-60D966C0F9F8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0F49-4024-A0A7-60D966C0F9F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0F49-4024-A0A7-60D966C0F9F8}"/>
              </c:ext>
            </c:extLst>
          </c:dPt>
          <c:dLbls>
            <c:dLbl>
              <c:idx val="0"/>
              <c:layout>
                <c:manualLayout>
                  <c:x val="3.8994845355172204E-2"/>
                  <c:y val="4.306035357805684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0F49-4024-A0A7-60D966C0F9F8}"/>
                </c:ext>
              </c:extLst>
            </c:dLbl>
            <c:dLbl>
              <c:idx val="1"/>
              <c:layout>
                <c:manualLayout>
                  <c:x val="0.19725634636721784"/>
                  <c:y val="-0.1130334281423992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000" b="1" i="0" u="none" strike="noStrike" kern="1200" baseline="0">
                      <a:solidFill>
                        <a:srgbClr val="7F7F7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070839466029411"/>
                      <c:h val="0.1607227697300971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0-0F49-4024-A0A7-60D966C0F9F8}"/>
                </c:ext>
              </c:extLst>
            </c:dLbl>
            <c:dLbl>
              <c:idx val="2"/>
              <c:layout>
                <c:manualLayout>
                  <c:x val="-8.6345729000738447E-2"/>
                  <c:y val="8.6120707156113599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0F49-4024-A0A7-60D966C0F9F8}"/>
                </c:ext>
              </c:extLst>
            </c:dLbl>
            <c:dLbl>
              <c:idx val="3"/>
              <c:layout>
                <c:manualLayout>
                  <c:x val="-7.5204344613546331E-2"/>
                  <c:y val="3.767780938079971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0F49-4024-A0A7-60D966C0F9F8}"/>
                </c:ext>
              </c:extLst>
            </c:dLbl>
            <c:dLbl>
              <c:idx val="4"/>
              <c:layout>
                <c:manualLayout>
                  <c:x val="-7.5204344613546387E-2"/>
                  <c:y val="2.691272098628553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0F49-4024-A0A7-60D966C0F9F8}"/>
                </c:ext>
              </c:extLst>
            </c:dLbl>
            <c:dLbl>
              <c:idx val="5"/>
              <c:layout>
                <c:manualLayout>
                  <c:x val="-5.2921575839162273E-2"/>
                  <c:y val="4.306035357805682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0F49-4024-A0A7-60D966C0F9F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 Group</c:v>
                </c:pt>
                <c:pt idx="2">
                  <c:v>Onic Urban</c:v>
                </c:pt>
                <c:pt idx="3">
                  <c:v>Other </c:v>
                </c:pt>
              </c:strCache>
            </c:strRef>
          </c:cat>
          <c:val>
            <c:numRef>
              <c:f>Sheet1!$GL$2:$GL$5</c:f>
              <c:numCache>
                <c:formatCode>General</c:formatCode>
                <c:ptCount val="4"/>
                <c:pt idx="0">
                  <c:v>17.600000000000001</c:v>
                </c:pt>
                <c:pt idx="1">
                  <c:v>56</c:v>
                </c:pt>
                <c:pt idx="2">
                  <c:v>25.4</c:v>
                </c:pt>
                <c:pt idx="3">
                  <c:v>1.1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0F49-4024-A0A7-60D966C0F9F8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rgbClr val="7F7F7F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230286405492739E-2"/>
          <c:y val="0.14958882027885512"/>
          <c:w val="0.95145721728130794"/>
          <c:h val="0.455171381621520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
Group</c:v>
                </c:pt>
                <c:pt idx="2">
                  <c:v>IRS
Plus</c:v>
                </c:pt>
                <c:pt idx="3">
                  <c:v>Onic 
Urban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51</c:v>
                </c:pt>
                <c:pt idx="1">
                  <c:v>822</c:v>
                </c:pt>
                <c:pt idx="2">
                  <c:v>352</c:v>
                </c:pt>
                <c:pt idx="3">
                  <c:v>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37-47E6-A796-E120B5F1E59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
Group</c:v>
                </c:pt>
                <c:pt idx="2">
                  <c:v>IRS
Plus</c:v>
                </c:pt>
                <c:pt idx="3">
                  <c:v>Onic 
Urban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526</c:v>
                </c:pt>
                <c:pt idx="1">
                  <c:v>826</c:v>
                </c:pt>
                <c:pt idx="2">
                  <c:v>368</c:v>
                </c:pt>
                <c:pt idx="3">
                  <c:v>2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537-47E6-A796-E120B5F1E5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3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  <c:majorUnit val="1000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2753150698653849"/>
          <c:y val="0.87024672091743882"/>
          <c:w val="0.26367141935381916"/>
          <c:h val="0.129753316702539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0.11142036017273305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15-3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BEA-4193-BC5D-C315A7FF1F3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BEA-4193-BC5D-C315A7FF1F3C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BEA-4193-BC5D-C315A7FF1F3C}"/>
              </c:ext>
            </c:extLst>
          </c:dPt>
          <c:dPt>
            <c:idx val="3"/>
            <c:bubble3D val="0"/>
            <c:spPr>
              <a:solidFill>
                <a:srgbClr val="6E6E7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BEA-4193-BC5D-C315A7FF1F3C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BEA-4193-BC5D-C315A7FF1F3C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BEA-4193-BC5D-C315A7FF1F3C}"/>
              </c:ext>
            </c:extLst>
          </c:dPt>
          <c:dLbls>
            <c:dLbl>
              <c:idx val="3"/>
              <c:layout>
                <c:manualLayout>
                  <c:x val="5.1064088544588597E-17"/>
                  <c:y val="-1.61476325917713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BEA-4193-BC5D-C315A7FF1F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 Group</c:v>
                </c:pt>
                <c:pt idx="2">
                  <c:v>Onic Urban</c:v>
                </c:pt>
                <c:pt idx="3">
                  <c:v>Other </c:v>
                </c:pt>
              </c:strCache>
            </c:strRef>
          </c:cat>
          <c:val>
            <c:numRef>
              <c:f>Sheet1!$B$2:$B$5</c:f>
              <c:numCache>
                <c:formatCode>0.0</c:formatCode>
                <c:ptCount val="4"/>
                <c:pt idx="0">
                  <c:v>20.3</c:v>
                </c:pt>
                <c:pt idx="1">
                  <c:v>59.4</c:v>
                </c:pt>
                <c:pt idx="2">
                  <c:v>19.8</c:v>
                </c:pt>
                <c:pt idx="3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BEA-4193-BC5D-C315A7FF1F3C}"/>
            </c:ext>
          </c:extLst>
        </c:ser>
        <c:ser>
          <c:idx val="1"/>
          <c:order val="1"/>
          <c:tx>
            <c:v>Labels</c:v>
          </c:tx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8BEA-4193-BC5D-C315A7FF1F3C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8BEA-4193-BC5D-C315A7FF1F3C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8BEA-4193-BC5D-C315A7FF1F3C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8BEA-4193-BC5D-C315A7FF1F3C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8BEA-4193-BC5D-C315A7FF1F3C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8BEA-4193-BC5D-C315A7FF1F3C}"/>
              </c:ext>
            </c:extLst>
          </c:dPt>
          <c:dLbls>
            <c:dLbl>
              <c:idx val="0"/>
              <c:layout>
                <c:manualLayout>
                  <c:x val="3.6209499258374189E-2"/>
                  <c:y val="-1.614763259177131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BEA-4193-BC5D-C315A7FF1F3C}"/>
                </c:ext>
              </c:extLst>
            </c:dLbl>
            <c:dLbl>
              <c:idx val="1"/>
              <c:layout>
                <c:manualLayout>
                  <c:x val="0.2256131434999343"/>
                  <c:y val="-0.1022683397478850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5758880703188031"/>
                      <c:h val="0.1607227697300971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0-8BEA-4193-BC5D-C315A7FF1F3C}"/>
                </c:ext>
              </c:extLst>
            </c:dLbl>
            <c:dLbl>
              <c:idx val="2"/>
              <c:layout>
                <c:manualLayout>
                  <c:x val="-9.7487113387930507E-2"/>
                  <c:y val="7.5355618761599491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8BEA-4193-BC5D-C315A7FF1F3C}"/>
                </c:ext>
              </c:extLst>
            </c:dLbl>
            <c:dLbl>
              <c:idx val="3"/>
              <c:layout>
                <c:manualLayout>
                  <c:x val="-6.6848306323152376E-2"/>
                  <c:y val="2.691272098628553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8BEA-4193-BC5D-C315A7FF1F3C}"/>
                </c:ext>
              </c:extLst>
            </c:dLbl>
            <c:dLbl>
              <c:idx val="4"/>
              <c:layout>
                <c:manualLayout>
                  <c:x val="-2.7853460967980196E-2"/>
                  <c:y val="2.1530176789028424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8BEA-4193-BC5D-C315A7FF1F3C}"/>
                </c:ext>
              </c:extLst>
            </c:dLbl>
            <c:dLbl>
              <c:idx val="5"/>
              <c:layout>
                <c:manualLayout>
                  <c:x val="-6.4062960226354382E-2"/>
                  <c:y val="4.306035357805682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8BEA-4193-BC5D-C315A7FF1F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 Group</c:v>
                </c:pt>
                <c:pt idx="2">
                  <c:v>Onic Urban</c:v>
                </c:pt>
                <c:pt idx="3">
                  <c:v>Other </c:v>
                </c:pt>
              </c:strCache>
            </c:strRef>
          </c:cat>
          <c:val>
            <c:numRef>
              <c:f>Sheet1!$GL$2:$GL$6</c:f>
              <c:numCache>
                <c:formatCode>General</c:formatCode>
                <c:ptCount val="5"/>
                <c:pt idx="0">
                  <c:v>20.3</c:v>
                </c:pt>
                <c:pt idx="1">
                  <c:v>59.4</c:v>
                </c:pt>
                <c:pt idx="2">
                  <c:v>19.8</c:v>
                </c:pt>
                <c:pt idx="3">
                  <c:v>0.4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8BEA-4193-BC5D-C315A7FF1F3C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rgbClr val="7F7F7F"/>
          </a:solidFill>
        </a:defRPr>
      </a:pPr>
      <a:endParaRPr lang="en-US"/>
    </a:p>
  </c:txPr>
  <c:externalData r:id="rId3">
    <c:autoUpdate val="0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064161042349428"/>
          <c:y val="5.7594918200161986E-2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15-3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AF5-4078-B996-1E0FB5FF2E5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AF5-4078-B996-1E0FB5FF2E5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AF5-4078-B996-1E0FB5FF2E50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AF5-4078-B996-1E0FB5FF2E50}"/>
              </c:ext>
            </c:extLst>
          </c:dPt>
          <c:dPt>
            <c:idx val="4"/>
            <c:bubble3D val="0"/>
            <c:spPr>
              <a:solidFill>
                <a:srgbClr val="0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AF5-4078-B996-1E0FB5FF2E5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BAF5-4078-B996-1E0FB5FF2E50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AF5-4078-B996-1E0FB5FF2E5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Cork's RED FM</c:v>
                </c:pt>
                <c:pt idx="1">
                  <c:v>Cork's 96FM</c:v>
                </c:pt>
                <c:pt idx="2">
                  <c:v>C103</c:v>
                </c:pt>
                <c:pt idx="3">
                  <c:v>National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 formatCode="0.0">
                  <c:v>28.1</c:v>
                </c:pt>
                <c:pt idx="1">
                  <c:v>14.5</c:v>
                </c:pt>
                <c:pt idx="2" formatCode="0.0">
                  <c:v>5.3</c:v>
                </c:pt>
                <c:pt idx="3" formatCode="0.0">
                  <c:v>36.4</c:v>
                </c:pt>
                <c:pt idx="4">
                  <c:v>15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AF5-4078-B996-1E0FB5FF2E50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BAF5-4078-B996-1E0FB5FF2E50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BAF5-4078-B996-1E0FB5FF2E50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BAF5-4078-B996-1E0FB5FF2E50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BAF5-4078-B996-1E0FB5FF2E50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BAF5-4078-B996-1E0FB5FF2E50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BAF5-4078-B996-1E0FB5FF2E50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0.25331272190393145"/>
                      <c:h val="0.1399461491286847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E-BAF5-4078-B996-1E0FB5FF2E50}"/>
                </c:ext>
              </c:extLst>
            </c:dLbl>
            <c:dLbl>
              <c:idx val="1"/>
              <c:layout>
                <c:manualLayout>
                  <c:x val="0.41850179344479127"/>
                  <c:y val="-4.9005310070570664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BAF5-4078-B996-1E0FB5FF2E50}"/>
                </c:ext>
              </c:extLst>
            </c:dLbl>
            <c:dLbl>
              <c:idx val="2"/>
              <c:layout>
                <c:manualLayout>
                  <c:x val="-0.1143494934984069"/>
                  <c:y val="8.57528293322381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BAF5-4078-B996-1E0FB5FF2E50}"/>
                </c:ext>
              </c:extLst>
            </c:dLbl>
            <c:dLbl>
              <c:idx val="3"/>
              <c:layout>
                <c:manualLayout>
                  <c:x val="-7.4592504983055904E-2"/>
                  <c:y val="7.6867817005364325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BAF5-4078-B996-1E0FB5FF2E50}"/>
                </c:ext>
              </c:extLst>
            </c:dLbl>
            <c:dLbl>
              <c:idx val="4"/>
              <c:layout>
                <c:manualLayout>
                  <c:x val="-3.700039955513923E-2"/>
                  <c:y val="1.5118591858626429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BAF5-4078-B996-1E0FB5FF2E50}"/>
                </c:ext>
              </c:extLst>
            </c:dLbl>
            <c:dLbl>
              <c:idx val="5"/>
              <c:layout>
                <c:manualLayout>
                  <c:x val="-7.2488181250049799E-2"/>
                  <c:y val="-1.512113479289283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BAF5-4078-B996-1E0FB5FF2E5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Cork's RED FM</c:v>
                </c:pt>
                <c:pt idx="1">
                  <c:v>Cork's 96FM</c:v>
                </c:pt>
                <c:pt idx="2">
                  <c:v>C103</c:v>
                </c:pt>
                <c:pt idx="3">
                  <c:v>National</c:v>
                </c:pt>
                <c:pt idx="4">
                  <c:v>Other</c:v>
                </c:pt>
              </c:strCache>
            </c:strRef>
          </c:cat>
          <c:val>
            <c:numRef>
              <c:f>Sheet1!$GL$3:$GL$6</c:f>
              <c:numCache>
                <c:formatCode>General</c:formatCode>
                <c:ptCount val="4"/>
                <c:pt idx="0">
                  <c:v>14.5</c:v>
                </c:pt>
                <c:pt idx="3">
                  <c:v>15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BAF5-4078-B996-1E0FB5FF2E50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rgbClr val="7F7F7F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5.221237400290487E-2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45+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986-4DAF-A964-0AFA46891F0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986-4DAF-A964-0AFA46891F0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986-4DAF-A964-0AFA46891F02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986-4DAF-A964-0AFA46891F02}"/>
              </c:ext>
            </c:extLst>
          </c:dPt>
          <c:dPt>
            <c:idx val="4"/>
            <c:bubble3D val="0"/>
            <c:spPr>
              <a:solidFill>
                <a:srgbClr val="0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986-4DAF-A964-0AFA46891F02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986-4DAF-A964-0AFA46891F02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2986-4DAF-A964-0AFA46891F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Cork's RED FM</c:v>
                </c:pt>
                <c:pt idx="1">
                  <c:v>Cork's 96FM</c:v>
                </c:pt>
                <c:pt idx="2">
                  <c:v>C103</c:v>
                </c:pt>
                <c:pt idx="3">
                  <c:v>National 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14.5</c:v>
                </c:pt>
                <c:pt idx="1">
                  <c:v>17</c:v>
                </c:pt>
                <c:pt idx="2">
                  <c:v>18</c:v>
                </c:pt>
                <c:pt idx="3">
                  <c:v>38.5</c:v>
                </c:pt>
                <c:pt idx="4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986-4DAF-A964-0AFA46891F0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2986-4DAF-A964-0AFA46891F0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2986-4DAF-A964-0AFA46891F0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2986-4DAF-A964-0AFA46891F0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2986-4DAF-A964-0AFA46891F0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2986-4DAF-A964-0AFA46891F0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Cork's RED FM</c:v>
                </c:pt>
                <c:pt idx="1">
                  <c:v>Cork's 96FM</c:v>
                </c:pt>
                <c:pt idx="2">
                  <c:v>C103</c:v>
                </c:pt>
                <c:pt idx="3">
                  <c:v>National </c:v>
                </c:pt>
                <c:pt idx="4">
                  <c:v>Other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17-2986-4DAF-A964-0AFA46891F02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rgbClr val="7F7F7F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0.11142036017273305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45+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434-4E65-8B67-9152B2930DE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434-4E65-8B67-9152B2930DE6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434-4E65-8B67-9152B2930DE6}"/>
              </c:ext>
            </c:extLst>
          </c:dPt>
          <c:dPt>
            <c:idx val="3"/>
            <c:bubble3D val="0"/>
            <c:spPr>
              <a:solidFill>
                <a:srgbClr val="6E6E7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434-4E65-8B67-9152B2930DE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434-4E65-8B67-9152B2930DE6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5434-4E65-8B67-9152B2930DE6}"/>
              </c:ext>
            </c:extLst>
          </c:dPt>
          <c:dLbls>
            <c:dLbl>
              <c:idx val="3"/>
              <c:layout>
                <c:manualLayout>
                  <c:x val="5.1064088544588597E-17"/>
                  <c:y val="-1.07650883945142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434-4E65-8B67-9152B2930D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 Group*</c:v>
                </c:pt>
                <c:pt idx="2">
                  <c:v>Onic Urban</c:v>
                </c:pt>
                <c:pt idx="3">
                  <c:v>Other </c:v>
                </c:pt>
              </c:strCache>
            </c:strRef>
          </c:cat>
          <c:val>
            <c:numRef>
              <c:f>Sheet1!$B$2:$B$5</c:f>
              <c:numCache>
                <c:formatCode>0.0</c:formatCode>
                <c:ptCount val="4"/>
                <c:pt idx="0">
                  <c:v>26.9</c:v>
                </c:pt>
                <c:pt idx="1">
                  <c:v>37</c:v>
                </c:pt>
                <c:pt idx="2">
                  <c:v>35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5434-4E65-8B67-9152B2930DE6}"/>
            </c:ext>
          </c:extLst>
        </c:ser>
        <c:ser>
          <c:idx val="1"/>
          <c:order val="1"/>
          <c:tx>
            <c:v>Labels</c:v>
          </c:tx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5434-4E65-8B67-9152B2930DE6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5434-4E65-8B67-9152B2930DE6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5434-4E65-8B67-9152B2930DE6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5434-4E65-8B67-9152B2930DE6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5434-4E65-8B67-9152B2930DE6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5434-4E65-8B67-9152B2930DE6}"/>
              </c:ext>
            </c:extLst>
          </c:dPt>
          <c:dLbls>
            <c:dLbl>
              <c:idx val="0"/>
              <c:layout>
                <c:manualLayout>
                  <c:x val="3.8994845355172204E-2"/>
                  <c:y val="4.306035357805684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5434-4E65-8B67-9152B2930DE6}"/>
                </c:ext>
              </c:extLst>
            </c:dLbl>
            <c:dLbl>
              <c:idx val="1"/>
              <c:layout>
                <c:manualLayout>
                  <c:x val="0.16104684710884365"/>
                  <c:y val="-9.15032513533709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000" b="1" i="0" u="none" strike="noStrike" kern="1200" baseline="0">
                      <a:solidFill>
                        <a:srgbClr val="7F7F7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070839466029411"/>
                      <c:h val="0.1607227697300971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0-5434-4E65-8B67-9152B2930DE6}"/>
                </c:ext>
              </c:extLst>
            </c:dLbl>
            <c:dLbl>
              <c:idx val="2"/>
              <c:layout>
                <c:manualLayout>
                  <c:x val="-8.9131075097536455E-2"/>
                  <c:y val="3.229526518354258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5434-4E65-8B67-9152B2930DE6}"/>
                </c:ext>
              </c:extLst>
            </c:dLbl>
            <c:dLbl>
              <c:idx val="3"/>
              <c:layout>
                <c:manualLayout>
                  <c:x val="-7.5204344613546331E-2"/>
                  <c:y val="3.767780938079971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5434-4E65-8B67-9152B2930DE6}"/>
                </c:ext>
              </c:extLst>
            </c:dLbl>
            <c:dLbl>
              <c:idx val="4"/>
              <c:layout>
                <c:manualLayout>
                  <c:x val="-7.5204344613546387E-2"/>
                  <c:y val="2.691272098628553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5434-4E65-8B67-9152B2930DE6}"/>
                </c:ext>
              </c:extLst>
            </c:dLbl>
            <c:dLbl>
              <c:idx val="5"/>
              <c:layout>
                <c:manualLayout>
                  <c:x val="-5.2921575839162273E-2"/>
                  <c:y val="4.306035357805682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5434-4E65-8B67-9152B2930D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 Group*</c:v>
                </c:pt>
                <c:pt idx="2">
                  <c:v>Onic Urban</c:v>
                </c:pt>
                <c:pt idx="3">
                  <c:v>Other </c:v>
                </c:pt>
              </c:strCache>
            </c:strRef>
          </c:cat>
          <c:val>
            <c:numRef>
              <c:f>Sheet1!$GL$2:$GL$6</c:f>
              <c:numCache>
                <c:formatCode>General</c:formatCode>
                <c:ptCount val="5"/>
                <c:pt idx="0">
                  <c:v>26.9</c:v>
                </c:pt>
                <c:pt idx="1">
                  <c:v>37</c:v>
                </c:pt>
                <c:pt idx="2">
                  <c:v>35</c:v>
                </c:pt>
                <c:pt idx="3">
                  <c:v>1.2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5434-4E65-8B67-9152B2930DE6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rgbClr val="7F7F7F"/>
          </a:solidFill>
        </a:defRPr>
      </a:pPr>
      <a:endParaRPr lang="en-US"/>
    </a:p>
  </c:txPr>
  <c:externalData r:id="rId3">
    <c:autoUpdate val="0"/>
  </c:externalData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96750740201509"/>
          <c:y val="0.11142036017273305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35-5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E6F-43AB-A213-3F870021245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E6F-43AB-A213-3F8700212451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E6F-43AB-A213-3F8700212451}"/>
              </c:ext>
            </c:extLst>
          </c:dPt>
          <c:dPt>
            <c:idx val="3"/>
            <c:bubble3D val="0"/>
            <c:spPr>
              <a:solidFill>
                <a:srgbClr val="6E6E7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E6F-43AB-A213-3F870021245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E6F-43AB-A213-3F8700212451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0E6F-43AB-A213-3F8700212451}"/>
              </c:ext>
            </c:extLst>
          </c:dPt>
          <c:dLbls>
            <c:dLbl>
              <c:idx val="0"/>
              <c:layout>
                <c:manualLayout>
                  <c:x val="0"/>
                  <c:y val="2.6912720986285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E6F-43AB-A213-3F8700212451}"/>
                </c:ext>
              </c:extLst>
            </c:dLbl>
            <c:dLbl>
              <c:idx val="3"/>
              <c:layout>
                <c:manualLayout>
                  <c:x val="8.3560382903939412E-3"/>
                  <c:y val="-1.07650883945142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E6F-43AB-A213-3F870021245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 Group*</c:v>
                </c:pt>
                <c:pt idx="2">
                  <c:v>Onic Urban</c:v>
                </c:pt>
                <c:pt idx="3">
                  <c:v>Other </c:v>
                </c:pt>
              </c:strCache>
            </c:strRef>
          </c:cat>
          <c:val>
            <c:numRef>
              <c:f>Sheet1!$B$2:$B$5</c:f>
              <c:numCache>
                <c:formatCode>0.0</c:formatCode>
                <c:ptCount val="4"/>
                <c:pt idx="0">
                  <c:v>15.8</c:v>
                </c:pt>
                <c:pt idx="1">
                  <c:v>56.5</c:v>
                </c:pt>
                <c:pt idx="2">
                  <c:v>26.1</c:v>
                </c:pt>
                <c:pt idx="3">
                  <c:v>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E6F-43AB-A213-3F8700212451}"/>
            </c:ext>
          </c:extLst>
        </c:ser>
        <c:ser>
          <c:idx val="1"/>
          <c:order val="1"/>
          <c:tx>
            <c:v>Labels</c:v>
          </c:tx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0E6F-43AB-A213-3F8700212451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0E6F-43AB-A213-3F8700212451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0E6F-43AB-A213-3F8700212451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0E6F-43AB-A213-3F870021245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0E6F-43AB-A213-3F8700212451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0E6F-43AB-A213-3F8700212451}"/>
              </c:ext>
            </c:extLst>
          </c:dPt>
          <c:dLbls>
            <c:dLbl>
              <c:idx val="0"/>
              <c:layout>
                <c:manualLayout>
                  <c:x val="3.6209499258374189E-2"/>
                  <c:y val="-1.614763259177131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0E6F-43AB-A213-3F8700212451}"/>
                </c:ext>
              </c:extLst>
            </c:dLbl>
            <c:dLbl>
              <c:idx val="1"/>
              <c:layout>
                <c:manualLayout>
                  <c:x val="0.13648206840239774"/>
                  <c:y val="-5.920798616982826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5758880703188031"/>
                      <c:h val="0.1607227697300971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0-0E6F-43AB-A213-3F8700212451}"/>
                </c:ext>
              </c:extLst>
            </c:dLbl>
            <c:dLbl>
              <c:idx val="2"/>
              <c:layout>
                <c:manualLayout>
                  <c:x val="-9.7487113387930535E-2"/>
                  <c:y val="1.0765088394514113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0E6F-43AB-A213-3F8700212451}"/>
                </c:ext>
              </c:extLst>
            </c:dLbl>
            <c:dLbl>
              <c:idx val="3"/>
              <c:layout>
                <c:manualLayout>
                  <c:x val="-6.6848306323152376E-2"/>
                  <c:y val="2.691272098628553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0E6F-43AB-A213-3F8700212451}"/>
                </c:ext>
              </c:extLst>
            </c:dLbl>
            <c:dLbl>
              <c:idx val="4"/>
              <c:layout>
                <c:manualLayout>
                  <c:x val="-2.7853460967980196E-2"/>
                  <c:y val="2.1530176789028424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0E6F-43AB-A213-3F8700212451}"/>
                </c:ext>
              </c:extLst>
            </c:dLbl>
            <c:dLbl>
              <c:idx val="5"/>
              <c:layout>
                <c:manualLayout>
                  <c:x val="-6.4062960226354382E-2"/>
                  <c:y val="4.306035357805682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0E6F-43AB-A213-3F870021245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 Group*</c:v>
                </c:pt>
                <c:pt idx="2">
                  <c:v>Onic Urban</c:v>
                </c:pt>
                <c:pt idx="3">
                  <c:v>Other </c:v>
                </c:pt>
              </c:strCache>
            </c:strRef>
          </c:cat>
          <c:val>
            <c:numRef>
              <c:f>Sheet1!$GL$2:$GL$6</c:f>
              <c:numCache>
                <c:formatCode>General</c:formatCode>
                <c:ptCount val="5"/>
                <c:pt idx="0">
                  <c:v>15.8</c:v>
                </c:pt>
                <c:pt idx="1">
                  <c:v>56.5</c:v>
                </c:pt>
                <c:pt idx="2">
                  <c:v>26.1</c:v>
                </c:pt>
                <c:pt idx="3">
                  <c:v>1.6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0E6F-43AB-A213-3F8700212451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rgbClr val="7F7F7F"/>
          </a:solidFill>
        </a:defRPr>
      </a:pPr>
      <a:endParaRPr lang="en-US"/>
    </a:p>
  </c:txPr>
  <c:externalData r:id="rId3">
    <c:autoUpdate val="0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064161042349428"/>
          <c:y val="5.7594918200161986E-2"/>
          <c:w val="0.43670830312005893"/>
          <c:h val="0.812972270573291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35-5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348-4B67-98EA-E3BF2C8F59E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348-4B67-98EA-E3BF2C8F59E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348-4B67-98EA-E3BF2C8F59E5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348-4B67-98EA-E3BF2C8F59E5}"/>
              </c:ext>
            </c:extLst>
          </c:dPt>
          <c:dPt>
            <c:idx val="4"/>
            <c:bubble3D val="0"/>
            <c:spPr>
              <a:solidFill>
                <a:srgbClr val="0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348-4B67-98EA-E3BF2C8F59E5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7348-4B67-98EA-E3BF2C8F59E5}"/>
              </c:ext>
            </c:extLst>
          </c:dPt>
          <c:dLbls>
            <c:dLbl>
              <c:idx val="2"/>
              <c:layout>
                <c:manualLayout>
                  <c:x val="2.8913676738264063E-3"/>
                  <c:y val="-1.614763259177131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E6E7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348-4B67-98EA-E3BF2C8F59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Cork's RED FM</c:v>
                </c:pt>
                <c:pt idx="1">
                  <c:v>Cork's 96FM</c:v>
                </c:pt>
                <c:pt idx="2">
                  <c:v>C103</c:v>
                </c:pt>
                <c:pt idx="3">
                  <c:v>National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 formatCode="0.0">
                  <c:v>26</c:v>
                </c:pt>
                <c:pt idx="1">
                  <c:v>16.600000000000001</c:v>
                </c:pt>
                <c:pt idx="2" formatCode="0.0">
                  <c:v>9.5</c:v>
                </c:pt>
                <c:pt idx="3" formatCode="0.0">
                  <c:v>32.299999999999997</c:v>
                </c:pt>
                <c:pt idx="4">
                  <c:v>15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348-4B67-98EA-E3BF2C8F59E5}"/>
            </c:ext>
          </c:extLst>
        </c:ser>
        <c:ser>
          <c:idx val="1"/>
          <c:order val="1"/>
          <c:tx>
            <c:v>Labels</c:v>
          </c:tx>
          <c:spPr>
            <a:noFill/>
          </c:spPr>
          <c:dPt>
            <c:idx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7348-4B67-98EA-E3BF2C8F59E5}"/>
              </c:ext>
            </c:extLst>
          </c:dPt>
          <c:dPt>
            <c:idx val="1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7348-4B67-98EA-E3BF2C8F59E5}"/>
              </c:ext>
            </c:extLst>
          </c:dPt>
          <c:dPt>
            <c:idx val="2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7348-4B67-98EA-E3BF2C8F59E5}"/>
              </c:ext>
            </c:extLst>
          </c:dPt>
          <c:dPt>
            <c:idx val="3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7348-4B67-98EA-E3BF2C8F59E5}"/>
              </c:ext>
            </c:extLst>
          </c:dPt>
          <c:dPt>
            <c:idx val="4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7348-4B67-98EA-E3BF2C8F59E5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7348-4B67-98EA-E3BF2C8F59E5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0.25331272190393145"/>
                      <c:h val="0.1399461491286847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E-7348-4B67-98EA-E3BF2C8F59E5}"/>
                </c:ext>
              </c:extLst>
            </c:dLbl>
            <c:dLbl>
              <c:idx val="1"/>
              <c:layout>
                <c:manualLayout>
                  <c:x val="0.41850179344479127"/>
                  <c:y val="-4.9005310070570664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7348-4B67-98EA-E3BF2C8F59E5}"/>
                </c:ext>
              </c:extLst>
            </c:dLbl>
            <c:dLbl>
              <c:idx val="2"/>
              <c:layout>
                <c:manualLayout>
                  <c:x val="-0.1143494934984069"/>
                  <c:y val="8.57528293322381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7348-4B67-98EA-E3BF2C8F59E5}"/>
                </c:ext>
              </c:extLst>
            </c:dLbl>
            <c:dLbl>
              <c:idx val="3"/>
              <c:layout>
                <c:manualLayout>
                  <c:x val="-5.7244298940097436E-2"/>
                  <c:y val="0.13069325897793538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7348-4B67-98EA-E3BF2C8F59E5}"/>
                </c:ext>
              </c:extLst>
            </c:dLbl>
            <c:dLbl>
              <c:idx val="4"/>
              <c:layout>
                <c:manualLayout>
                  <c:x val="-3.700039955513923E-2"/>
                  <c:y val="1.5118591858626429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7348-4B67-98EA-E3BF2C8F59E5}"/>
                </c:ext>
              </c:extLst>
            </c:dLbl>
            <c:dLbl>
              <c:idx val="5"/>
              <c:layout>
                <c:manualLayout>
                  <c:x val="-7.2488181250049799E-2"/>
                  <c:y val="-1.512113479289283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7348-4B67-98EA-E3BF2C8F59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Cork's RED FM</c:v>
                </c:pt>
                <c:pt idx="1">
                  <c:v>Cork's 96FM</c:v>
                </c:pt>
                <c:pt idx="2">
                  <c:v>C103</c:v>
                </c:pt>
                <c:pt idx="3">
                  <c:v>National</c:v>
                </c:pt>
                <c:pt idx="4">
                  <c:v>Other</c:v>
                </c:pt>
              </c:strCache>
            </c:strRef>
          </c:cat>
          <c:val>
            <c:numRef>
              <c:f>Sheet1!$GL$3:$GL$6</c:f>
              <c:numCache>
                <c:formatCode>General</c:formatCode>
                <c:ptCount val="4"/>
                <c:pt idx="0">
                  <c:v>16.600000000000001</c:v>
                </c:pt>
                <c:pt idx="3">
                  <c:v>15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7348-4B67-98EA-E3BF2C8F59E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rgbClr val="7F7F7F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7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Classic Hits </c:v>
                </c:pt>
                <c:pt idx="1">
                  <c:v>Radio Nova</c:v>
                </c:pt>
                <c:pt idx="2">
                  <c:v>iRadio NW</c:v>
                </c:pt>
                <c:pt idx="3">
                  <c:v>Beat 102-103 FM</c:v>
                </c:pt>
                <c:pt idx="4">
                  <c:v>iRadio NE</c:v>
                </c:pt>
                <c:pt idx="5">
                  <c:v>Spin South West</c:v>
                </c:pt>
              </c:strCache>
            </c:strRef>
          </c:cat>
          <c:val>
            <c:numRef>
              <c:f>Sheet1!$B$2:$B$7</c:f>
              <c:numCache>
                <c:formatCode>0</c:formatCode>
                <c:ptCount val="6"/>
                <c:pt idx="0">
                  <c:v>382</c:v>
                </c:pt>
                <c:pt idx="1">
                  <c:v>254</c:v>
                </c:pt>
                <c:pt idx="2">
                  <c:v>187</c:v>
                </c:pt>
                <c:pt idx="3">
                  <c:v>163</c:v>
                </c:pt>
                <c:pt idx="4">
                  <c:v>157.01894580000001</c:v>
                </c:pt>
                <c:pt idx="5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Classic Hits </c:v>
                </c:pt>
                <c:pt idx="1">
                  <c:v>Radio Nova</c:v>
                </c:pt>
                <c:pt idx="2">
                  <c:v>iRadio NW</c:v>
                </c:pt>
                <c:pt idx="3">
                  <c:v>Beat 102-103 FM</c:v>
                </c:pt>
                <c:pt idx="4">
                  <c:v>iRadio NE</c:v>
                </c:pt>
                <c:pt idx="5">
                  <c:v>Spin South West</c:v>
                </c:pt>
              </c:strCache>
            </c:strRef>
          </c:cat>
          <c:val>
            <c:numRef>
              <c:f>Sheet1!$C$2:$C$7</c:f>
              <c:numCache>
                <c:formatCode>0</c:formatCode>
                <c:ptCount val="6"/>
                <c:pt idx="0">
                  <c:v>374</c:v>
                </c:pt>
                <c:pt idx="1">
                  <c:v>268</c:v>
                </c:pt>
                <c:pt idx="2">
                  <c:v>190</c:v>
                </c:pt>
                <c:pt idx="3">
                  <c:v>185</c:v>
                </c:pt>
                <c:pt idx="4">
                  <c:v>142</c:v>
                </c:pt>
                <c:pt idx="5">
                  <c:v>1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500"/>
          <c:min val="0"/>
        </c:scaling>
        <c:delete val="1"/>
        <c:axPos val="l"/>
        <c:numFmt formatCode="0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9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7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rgbClr val="6E6E71"/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>
                <a:solidFill>
                  <a:srgbClr val="6E6E71"/>
                </a:solidFill>
              </a:rPr>
              <a:t>Beat 102-</a:t>
            </a:r>
          </a:p>
          <a:p>
            <a:pPr>
              <a:defRPr sz="1200" b="0" spc="0">
                <a:solidFill>
                  <a:srgbClr val="6E6E71"/>
                </a:solidFill>
              </a:defRPr>
            </a:pPr>
            <a:r>
              <a:rPr lang="en-US" sz="1200" b="1" dirty="0">
                <a:solidFill>
                  <a:srgbClr val="6E6E71"/>
                </a:solidFill>
              </a:rPr>
              <a:t>103 FM</a:t>
            </a:r>
          </a:p>
        </c:rich>
      </c:tx>
      <c:layout>
        <c:manualLayout>
          <c:xMode val="edge"/>
          <c:yMode val="edge"/>
          <c:x val="0.31566131327593389"/>
          <c:y val="0.4122707074014945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rgbClr val="6E6E7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6762096161600004E-2"/>
          <c:y val="2.2080672891504002E-2"/>
          <c:w val="0.87288594310963796"/>
          <c:h val="0.943424481831703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Beat 102-103 FM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543-417C-9A37-6F4EC38FE74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543-417C-9A37-6F4EC38FE74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543-417C-9A37-6F4EC38FE74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543-417C-9A37-6F4EC38FE74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543-417C-9A37-6F4EC38FE742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B543-417C-9A37-6F4EC38FE742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B543-417C-9A37-6F4EC38FE742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B543-417C-9A37-6F4EC38FE742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543-417C-9A37-6F4EC38FE74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0.0%</c:formatCode>
                <c:ptCount val="2"/>
                <c:pt idx="0">
                  <c:v>0.16300000000000001</c:v>
                </c:pt>
                <c:pt idx="1">
                  <c:v>0.836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B543-417C-9A37-6F4EC38FE7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900"/>
      </a:pPr>
      <a:endParaRPr lang="en-US"/>
    </a:p>
  </c:txPr>
  <c:externalData r:id="rId3">
    <c:autoUpdate val="0"/>
  </c:externalData>
</c:chartSpace>
</file>

<file path=ppt/charts/chart7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rgbClr val="6E6E7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rgbClr val="6E6E71"/>
                </a:solidFill>
              </a:rPr>
              <a:t>Classic </a:t>
            </a:r>
          </a:p>
          <a:p>
            <a:pPr>
              <a:defRPr>
                <a:solidFill>
                  <a:srgbClr val="6E6E71"/>
                </a:solidFill>
              </a:defRPr>
            </a:pPr>
            <a:r>
              <a:rPr lang="en-US" dirty="0">
                <a:solidFill>
                  <a:srgbClr val="6E6E71"/>
                </a:solidFill>
              </a:rPr>
              <a:t>Hits </a:t>
            </a:r>
          </a:p>
        </c:rich>
      </c:tx>
      <c:layout>
        <c:manualLayout>
          <c:xMode val="edge"/>
          <c:yMode val="edge"/>
          <c:x val="0.3425945481362469"/>
          <c:y val="0.3761683518222876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rgbClr val="6E6E7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6762096161600004E-2"/>
          <c:y val="2.2080672891504002E-2"/>
          <c:w val="0.87288594310963796"/>
          <c:h val="0.943424481831703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lassic Hit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FD0-4928-BB62-08C126D29CB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FD0-4928-BB62-08C126D29CB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FD0-4928-BB62-08C126D29CB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FD0-4928-BB62-08C126D29CB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FD0-4928-BB62-08C126D29CBA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6FD0-4928-BB62-08C126D29CBA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6FD0-4928-BB62-08C126D29CBA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6FD0-4928-BB62-08C126D29CBA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FD0-4928-BB62-08C126D29CB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0.0%</c:formatCode>
                <c:ptCount val="2"/>
                <c:pt idx="0">
                  <c:v>6.5000000000000002E-2</c:v>
                </c:pt>
                <c:pt idx="1">
                  <c:v>0.935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6FD0-4928-BB62-08C126D29C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/>
      </a:pPr>
      <a:endParaRPr lang="en-US"/>
    </a:p>
  </c:txPr>
  <c:externalData r:id="rId3">
    <c:autoUpdate val="0"/>
  </c:externalData>
</c:chartSpace>
</file>

<file path=ppt/charts/chart7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rgbClr val="222223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>
                <a:solidFill>
                  <a:srgbClr val="222223">
                    <a:lumMod val="65000"/>
                    <a:lumOff val="35000"/>
                  </a:srgbClr>
                </a:solidFill>
              </a:rPr>
              <a:t>iRadio </a:t>
            </a:r>
          </a:p>
          <a:p>
            <a:pPr>
              <a:defRPr sz="1200" b="0" spc="0">
                <a:solidFill>
                  <a:srgbClr val="222223">
                    <a:lumMod val="65000"/>
                    <a:lumOff val="35000"/>
                  </a:srgbClr>
                </a:solidFill>
              </a:defRPr>
            </a:pPr>
            <a:r>
              <a:rPr lang="en-US" sz="1200" b="1" dirty="0">
                <a:solidFill>
                  <a:srgbClr val="222223">
                    <a:lumMod val="65000"/>
                    <a:lumOff val="35000"/>
                  </a:srgbClr>
                </a:solidFill>
              </a:rPr>
              <a:t>NW</a:t>
            </a:r>
          </a:p>
        </c:rich>
      </c:tx>
      <c:layout>
        <c:manualLayout>
          <c:xMode val="edge"/>
          <c:yMode val="edge"/>
          <c:x val="0.37051251319991968"/>
          <c:y val="0.4122707074014945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rgbClr val="222223">
                  <a:lumMod val="65000"/>
                  <a:lumOff val="35000"/>
                </a:srgb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6762096161600004E-2"/>
          <c:y val="2.2080672891504002E-2"/>
          <c:w val="0.87288594310963796"/>
          <c:h val="0.943424481831703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iRadio NW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543-417C-9A37-6F4EC38FE74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543-417C-9A37-6F4EC38FE74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543-417C-9A37-6F4EC38FE74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543-417C-9A37-6F4EC38FE74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543-417C-9A37-6F4EC38FE742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B543-417C-9A37-6F4EC38FE742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B543-417C-9A37-6F4EC38FE742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B543-417C-9A37-6F4EC38FE742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543-417C-9A37-6F4EC38FE74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0.0%</c:formatCode>
                <c:ptCount val="2"/>
                <c:pt idx="0">
                  <c:v>0.10299999999999999</c:v>
                </c:pt>
                <c:pt idx="1">
                  <c:v>0.897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B543-417C-9A37-6F4EC38FE7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900"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7CB70DC-2D80-4BE6-AF23-CE3FECC28D8B}" type="VALUE">
                      <a:rPr lang="en-US" smtClean="0"/>
                      <a:pPr/>
                      <a:t>[VALUE]</a:t>
                    </a:fld>
                    <a:endParaRPr lang="en-I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5167-4FD9-A15A-5E1DECA9487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278AEAAD-0001-4A07-824F-A442D2DE1E88}" type="VALUE">
                      <a:rPr lang="en-US" dirty="0"/>
                      <a:pPr/>
                      <a:t>[VALUE]</a:t>
                    </a:fld>
                    <a:endParaRPr lang="en-I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5167-4FD9-A15A-5E1DECA9487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32E54A0-B540-4C6A-8AF3-4737BBD49385}" type="VALUE">
                      <a:rPr lang="en-US"/>
                      <a:pPr/>
                      <a:t>[VALUE]</a:t>
                    </a:fld>
                    <a:endParaRPr lang="en-I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5167-4FD9-A15A-5E1DECA94874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F3052CB9-D67B-48F1-B6AE-A83B5ED3A6BD}" type="VALUE">
                      <a:rPr lang="en-US"/>
                      <a:pPr/>
                      <a:t>[VALUE]</a:t>
                    </a:fld>
                    <a:endParaRPr lang="en-I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5167-4FD9-A15A-5E1DECA94874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28B42440-3564-489E-82BA-BEDD56F3DF21}" type="VALUE">
                      <a:rPr lang="en-US"/>
                      <a:pPr/>
                      <a:t>[VALUE]</a:t>
                    </a:fld>
                    <a:endParaRPr lang="en-I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5167-4FD9-A15A-5E1DECA9487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RTE Radio 1</c:v>
                </c:pt>
                <c:pt idx="1">
                  <c:v>Today FM</c:v>
                </c:pt>
                <c:pt idx="2">
                  <c:v>Newstalk</c:v>
                </c:pt>
                <c:pt idx="3">
                  <c:v>RTE 2FM</c:v>
                </c:pt>
                <c:pt idx="4">
                  <c:v>RTE Lyric FM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08</c:v>
                </c:pt>
                <c:pt idx="1">
                  <c:v>341</c:v>
                </c:pt>
                <c:pt idx="2">
                  <c:v>169</c:v>
                </c:pt>
                <c:pt idx="3">
                  <c:v>313</c:v>
                </c:pt>
                <c:pt idx="4">
                  <c:v>45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#REF!</c15:f>
              </c15:datalabelsRange>
            </c:ext>
            <c:ext xmlns:c16="http://schemas.microsoft.com/office/drawing/2014/chart" uri="{C3380CC4-5D6E-409C-BE32-E72D297353CC}">
              <c16:uniqueId val="{00000005-5167-4FD9-A15A-5E1DECA9487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RTE Radio 1</c:v>
                </c:pt>
                <c:pt idx="1">
                  <c:v>Today FM</c:v>
                </c:pt>
                <c:pt idx="2">
                  <c:v>Newstalk</c:v>
                </c:pt>
                <c:pt idx="3">
                  <c:v>RTE 2FM</c:v>
                </c:pt>
                <c:pt idx="4">
                  <c:v>RTE Lyric FM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194</c:v>
                </c:pt>
                <c:pt idx="1">
                  <c:v>311</c:v>
                </c:pt>
                <c:pt idx="2">
                  <c:v>161</c:v>
                </c:pt>
                <c:pt idx="3">
                  <c:v>261</c:v>
                </c:pt>
                <c:pt idx="4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167-4FD9-A15A-5E1DECA948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1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5474430814533242"/>
          <c:y val="0.8702466832974608"/>
          <c:w val="0.26367141935381916"/>
          <c:h val="0.129753316702539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rgbClr val="222223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>
                <a:solidFill>
                  <a:srgbClr val="222223">
                    <a:lumMod val="65000"/>
                    <a:lumOff val="35000"/>
                  </a:srgbClr>
                </a:solidFill>
              </a:rPr>
              <a:t>iRadio </a:t>
            </a:r>
          </a:p>
          <a:p>
            <a:pPr>
              <a:defRPr sz="1200" b="0" spc="0">
                <a:solidFill>
                  <a:srgbClr val="222223">
                    <a:lumMod val="65000"/>
                    <a:lumOff val="35000"/>
                  </a:srgbClr>
                </a:solidFill>
              </a:defRPr>
            </a:pPr>
            <a:r>
              <a:rPr lang="en-US" sz="1200" b="1" dirty="0">
                <a:solidFill>
                  <a:srgbClr val="222223">
                    <a:lumMod val="65000"/>
                    <a:lumOff val="35000"/>
                  </a:srgbClr>
                </a:solidFill>
              </a:rPr>
              <a:t>NE</a:t>
            </a:r>
          </a:p>
        </c:rich>
      </c:tx>
      <c:layout>
        <c:manualLayout>
          <c:xMode val="edge"/>
          <c:yMode val="edge"/>
          <c:x val="0.37599763319231821"/>
          <c:y val="0.390609294053970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rgbClr val="222223">
                  <a:lumMod val="65000"/>
                  <a:lumOff val="35000"/>
                </a:srgb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6762096161600004E-2"/>
          <c:y val="2.2080672891504002E-2"/>
          <c:w val="0.87288594310963796"/>
          <c:h val="0.943424481831703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iRadio N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FA2-4397-BF2F-FD57E71C386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FA2-4397-BF2F-FD57E71C386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FA2-4397-BF2F-FD57E71C386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FA2-4397-BF2F-FD57E71C386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FA2-4397-BF2F-FD57E71C386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FA2-4397-BF2F-FD57E71C386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EFA2-4397-BF2F-FD57E71C386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EFA2-4397-BF2F-FD57E71C386D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FA2-4397-BF2F-FD57E71C38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0.0%</c:formatCode>
                <c:ptCount val="2"/>
                <c:pt idx="0">
                  <c:v>7.2999999999999995E-2</c:v>
                </c:pt>
                <c:pt idx="1">
                  <c:v>0.927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EFA2-4397-BF2F-FD57E71C38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900"/>
      </a:pPr>
      <a:endParaRPr lang="en-US"/>
    </a:p>
  </c:txPr>
  <c:externalData r:id="rId3">
    <c:autoUpdate val="0"/>
  </c:externalData>
</c:chartSpace>
</file>

<file path=ppt/charts/chart8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rgbClr val="222223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>
                <a:solidFill>
                  <a:srgbClr val="222223">
                    <a:lumMod val="65000"/>
                    <a:lumOff val="35000"/>
                  </a:srgbClr>
                </a:solidFill>
              </a:rPr>
              <a:t>Spin South </a:t>
            </a:r>
          </a:p>
          <a:p>
            <a:pPr>
              <a:defRPr sz="1200" b="0" spc="0">
                <a:solidFill>
                  <a:srgbClr val="222223">
                    <a:lumMod val="65000"/>
                    <a:lumOff val="35000"/>
                  </a:srgbClr>
                </a:solidFill>
              </a:defRPr>
            </a:pPr>
            <a:r>
              <a:rPr lang="en-US" sz="1200" b="1" dirty="0">
                <a:solidFill>
                  <a:srgbClr val="222223">
                    <a:lumMod val="65000"/>
                    <a:lumOff val="35000"/>
                  </a:srgbClr>
                </a:solidFill>
              </a:rPr>
              <a:t>West</a:t>
            </a:r>
          </a:p>
        </c:rich>
      </c:tx>
      <c:layout>
        <c:manualLayout>
          <c:xMode val="edge"/>
          <c:yMode val="edge"/>
          <c:x val="0.31516894817425406"/>
          <c:y val="0.3978297651698118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rgbClr val="222223">
                  <a:lumMod val="65000"/>
                  <a:lumOff val="35000"/>
                </a:srgb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6762096161600004E-2"/>
          <c:y val="2.2080672891504002E-2"/>
          <c:w val="0.87288594310963796"/>
          <c:h val="0.943424481831703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pin South West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FD0-4928-BB62-08C126D29CB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FD0-4928-BB62-08C126D29CB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FD0-4928-BB62-08C126D29CB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FD0-4928-BB62-08C126D29CB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FD0-4928-BB62-08C126D29CBA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6FD0-4928-BB62-08C126D29CBA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6FD0-4928-BB62-08C126D29CBA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6FD0-4928-BB62-08C126D29CBA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FD0-4928-BB62-08C126D29CB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0.0%</c:formatCode>
                <c:ptCount val="2"/>
                <c:pt idx="0">
                  <c:v>0.13100000000000001</c:v>
                </c:pt>
                <c:pt idx="1">
                  <c:v>0.86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6FD0-4928-BB62-08C126D29C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900"/>
      </a:pPr>
      <a:endParaRPr lang="en-US"/>
    </a:p>
  </c:txPr>
  <c:externalData r:id="rId3">
    <c:autoUpdate val="0"/>
  </c:externalData>
</c:chartSpace>
</file>

<file path=ppt/charts/chart8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rgbClr val="222223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>
                <a:solidFill>
                  <a:srgbClr val="222223">
                    <a:lumMod val="65000"/>
                    <a:lumOff val="35000"/>
                  </a:srgbClr>
                </a:solidFill>
              </a:rPr>
              <a:t>Radio </a:t>
            </a:r>
          </a:p>
          <a:p>
            <a:pPr>
              <a:defRPr sz="1200" b="0" spc="0">
                <a:solidFill>
                  <a:srgbClr val="222223">
                    <a:lumMod val="65000"/>
                    <a:lumOff val="35000"/>
                  </a:srgbClr>
                </a:solidFill>
              </a:defRPr>
            </a:pPr>
            <a:r>
              <a:rPr lang="en-US" sz="1200" b="1" dirty="0">
                <a:solidFill>
                  <a:srgbClr val="222223">
                    <a:lumMod val="65000"/>
                    <a:lumOff val="35000"/>
                  </a:srgbClr>
                </a:solidFill>
              </a:rPr>
              <a:t>Nova</a:t>
            </a:r>
          </a:p>
        </c:rich>
      </c:tx>
      <c:layout>
        <c:manualLayout>
          <c:xMode val="edge"/>
          <c:yMode val="edge"/>
          <c:x val="0.39793811316191258"/>
          <c:y val="0.390609294053970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rgbClr val="222223">
                  <a:lumMod val="65000"/>
                  <a:lumOff val="35000"/>
                </a:srgb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6762096161600004E-2"/>
          <c:y val="2.2080672891504002E-2"/>
          <c:w val="0.87288594310963796"/>
          <c:h val="0.943424481831703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Radio Nova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FA2-4397-BF2F-FD57E71C386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FA2-4397-BF2F-FD57E71C386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FA2-4397-BF2F-FD57E71C386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FA2-4397-BF2F-FD57E71C386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FA2-4397-BF2F-FD57E71C386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FA2-4397-BF2F-FD57E71C386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EFA2-4397-BF2F-FD57E71C386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EFA2-4397-BF2F-FD57E71C386D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FA2-4397-BF2F-FD57E71C38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0.0%</c:formatCode>
                <c:ptCount val="2"/>
                <c:pt idx="0">
                  <c:v>8.6999999999999994E-2</c:v>
                </c:pt>
                <c:pt idx="1">
                  <c:v>0.913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EFA2-4397-BF2F-FD57E71C38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900"/>
      </a:pPr>
      <a:endParaRPr lang="en-US"/>
    </a:p>
  </c:txPr>
  <c:externalData r:id="rId3">
    <c:autoUpdate val="0"/>
  </c:externalData>
</c:chartSpace>
</file>

<file path=ppt/charts/chart8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Galway Bay FM</c:v>
                </c:pt>
                <c:pt idx="1">
                  <c:v>LMFM</c:v>
                </c:pt>
                <c:pt idx="2">
                  <c:v>Midlands 103</c:v>
                </c:pt>
                <c:pt idx="3">
                  <c:v>Limerick's
Live 95</c:v>
                </c:pt>
                <c:pt idx="4">
                  <c:v>Highland Radio</c:v>
                </c:pt>
                <c:pt idx="5">
                  <c:v>MWR</c:v>
                </c:pt>
                <c:pt idx="6">
                  <c:v>Radio Kerry</c:v>
                </c:pt>
                <c:pt idx="7">
                  <c:v>Northern Sound</c:v>
                </c:pt>
                <c:pt idx="8">
                  <c:v>TIPP FM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29</c:v>
                </c:pt>
                <c:pt idx="1">
                  <c:v>111</c:v>
                </c:pt>
                <c:pt idx="2">
                  <c:v>109</c:v>
                </c:pt>
                <c:pt idx="3">
                  <c:v>92</c:v>
                </c:pt>
                <c:pt idx="4">
                  <c:v>90</c:v>
                </c:pt>
                <c:pt idx="5">
                  <c:v>89</c:v>
                </c:pt>
                <c:pt idx="6">
                  <c:v>88</c:v>
                </c:pt>
                <c:pt idx="7">
                  <c:v>78</c:v>
                </c:pt>
                <c:pt idx="8">
                  <c:v>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Galway Bay FM</c:v>
                </c:pt>
                <c:pt idx="1">
                  <c:v>LMFM</c:v>
                </c:pt>
                <c:pt idx="2">
                  <c:v>Midlands 103</c:v>
                </c:pt>
                <c:pt idx="3">
                  <c:v>Limerick's
Live 95</c:v>
                </c:pt>
                <c:pt idx="4">
                  <c:v>Highland Radio</c:v>
                </c:pt>
                <c:pt idx="5">
                  <c:v>MWR</c:v>
                </c:pt>
                <c:pt idx="6">
                  <c:v>Radio Kerry</c:v>
                </c:pt>
                <c:pt idx="7">
                  <c:v>Northern Sound</c:v>
                </c:pt>
                <c:pt idx="8">
                  <c:v>TIPP FM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131</c:v>
                </c:pt>
                <c:pt idx="1">
                  <c:v>135</c:v>
                </c:pt>
                <c:pt idx="2">
                  <c:v>111</c:v>
                </c:pt>
                <c:pt idx="3">
                  <c:v>88</c:v>
                </c:pt>
                <c:pt idx="4">
                  <c:v>95</c:v>
                </c:pt>
                <c:pt idx="5">
                  <c:v>86</c:v>
                </c:pt>
                <c:pt idx="6">
                  <c:v>87</c:v>
                </c:pt>
                <c:pt idx="7">
                  <c:v>67</c:v>
                </c:pt>
                <c:pt idx="8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9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8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1793656236753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Southeast Radio</c:v>
                </c:pt>
                <c:pt idx="1">
                  <c:v>KFM</c:v>
                </c:pt>
                <c:pt idx="2">
                  <c:v>KCLR</c:v>
                </c:pt>
                <c:pt idx="3">
                  <c:v>WLR</c:v>
                </c:pt>
                <c:pt idx="4">
                  <c:v>Shannonside </c:v>
                </c:pt>
                <c:pt idx="5">
                  <c:v>Clare FM</c:v>
                </c:pt>
                <c:pt idx="6">
                  <c:v>East Coast Radio</c:v>
                </c:pt>
                <c:pt idx="7">
                  <c:v>Ocean FM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70</c:v>
                </c:pt>
                <c:pt idx="1">
                  <c:v>68</c:v>
                </c:pt>
                <c:pt idx="2">
                  <c:v>65</c:v>
                </c:pt>
                <c:pt idx="3">
                  <c:v>65</c:v>
                </c:pt>
                <c:pt idx="4">
                  <c:v>60</c:v>
                </c:pt>
                <c:pt idx="5">
                  <c:v>55</c:v>
                </c:pt>
                <c:pt idx="6">
                  <c:v>53</c:v>
                </c:pt>
                <c:pt idx="7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91-4F26-9F5B-E0A983442D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Southeast Radio</c:v>
                </c:pt>
                <c:pt idx="1">
                  <c:v>KFM</c:v>
                </c:pt>
                <c:pt idx="2">
                  <c:v>KCLR</c:v>
                </c:pt>
                <c:pt idx="3">
                  <c:v>WLR</c:v>
                </c:pt>
                <c:pt idx="4">
                  <c:v>Shannonside </c:v>
                </c:pt>
                <c:pt idx="5">
                  <c:v>Clare FM</c:v>
                </c:pt>
                <c:pt idx="6">
                  <c:v>East Coast Radio</c:v>
                </c:pt>
                <c:pt idx="7">
                  <c:v>Ocean FM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77</c:v>
                </c:pt>
                <c:pt idx="1">
                  <c:v>75</c:v>
                </c:pt>
                <c:pt idx="2">
                  <c:v>59</c:v>
                </c:pt>
                <c:pt idx="3">
                  <c:v>72</c:v>
                </c:pt>
                <c:pt idx="4">
                  <c:v>73</c:v>
                </c:pt>
                <c:pt idx="5">
                  <c:v>63</c:v>
                </c:pt>
                <c:pt idx="6">
                  <c:v>53</c:v>
                </c:pt>
                <c:pt idx="7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91-4F26-9F5B-E0A983442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4453950771078479"/>
          <c:y val="0.87024672091743882"/>
          <c:w val="0.2644963743495779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900" b="1">
          <a:solidFill>
            <a:schemeClr val="bg1">
              <a:lumMod val="50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8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rgbClr val="6E6E71"/>
                </a:solidFill>
                <a:latin typeface="+mn-lt"/>
                <a:ea typeface="+mn-ea"/>
                <a:cs typeface="+mn-cs"/>
              </a:defRPr>
            </a:pPr>
            <a:r>
              <a:rPr lang="en-US" sz="1050" dirty="0">
                <a:solidFill>
                  <a:srgbClr val="6E6E71"/>
                </a:solidFill>
              </a:rPr>
              <a:t>KILKENNY/ </a:t>
            </a:r>
          </a:p>
          <a:p>
            <a:pPr>
              <a:defRPr sz="1050">
                <a:solidFill>
                  <a:srgbClr val="6E6E71"/>
                </a:solidFill>
              </a:defRPr>
            </a:pPr>
            <a:r>
              <a:rPr lang="en-US" sz="1050" dirty="0">
                <a:solidFill>
                  <a:srgbClr val="6E6E71"/>
                </a:solidFill>
              </a:rPr>
              <a:t>CARLOW</a:t>
            </a:r>
          </a:p>
        </c:rich>
      </c:tx>
      <c:layout>
        <c:manualLayout>
          <c:xMode val="edge"/>
          <c:yMode val="edge"/>
          <c:x val="0.39367607614130923"/>
          <c:y val="0.405590491967652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rgbClr val="6E6E7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835410138201925"/>
          <c:y val="6.0473598750529739E-2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KILKENNY/CARLOW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9.6988272310484569E-2"/>
                  <c:y val="-0.173016980186149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5087064581630938"/>
                  <c:y val="0.193779017808487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-0.1131529843622321"/>
                  <c:y val="0.1314929049414738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0.12931769641397955"/>
                  <c:y val="0.110730867319135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724235952186394"/>
                  <c:y val="7.61274712819058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8320006991980439"/>
                  <c:y val="-6.920679207446060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21552949402329924"/>
                  <c:y val="-6.22861128670139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2.1552949402329973E-2"/>
                  <c:y val="-0.1462742768707631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0.22091773137388176"/>
                  <c:y val="-0.1116708808335331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0.10776474701164962"/>
                  <c:y val="-0.1387650674629988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8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23799999999999999</c:v>
                </c:pt>
                <c:pt idx="1">
                  <c:v>0.16200000000000001</c:v>
                </c:pt>
                <c:pt idx="2">
                  <c:v>0.19500000000000001</c:v>
                </c:pt>
                <c:pt idx="3">
                  <c:v>9.5000000000000001E-2</c:v>
                </c:pt>
                <c:pt idx="4">
                  <c:v>2.4E-2</c:v>
                </c:pt>
                <c:pt idx="5">
                  <c:v>4.1000000000000002E-2</c:v>
                </c:pt>
                <c:pt idx="6">
                  <c:v>0.189</c:v>
                </c:pt>
                <c:pt idx="7">
                  <c:v>0</c:v>
                </c:pt>
                <c:pt idx="8" formatCode="0%">
                  <c:v>0</c:v>
                </c:pt>
                <c:pt idx="9" formatCode="0%">
                  <c:v>5.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8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OIS, </a:t>
            </a:r>
          </a:p>
          <a:p>
            <a: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r>
              <a:rPr lang="en-US" dirty="0">
                <a:solidFill>
                  <a:srgbClr val="595959"/>
                </a:solidFill>
              </a:rPr>
              <a:t>OFFALY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</a:p>
          <a:p>
            <a: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r>
              <a:rPr lang="en-US" spc="-20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ESTMEATH</a:t>
            </a:r>
          </a:p>
        </c:rich>
      </c:tx>
      <c:layout>
        <c:manualLayout>
          <c:xMode val="edge"/>
          <c:yMode val="edge"/>
          <c:x val="0.37567978766102134"/>
          <c:y val="0.30450988512762384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835410138201925"/>
          <c:y val="6.0473598750529739E-2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AOIS, OFFALY, WESTMEATH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4548240846572688"/>
                  <c:y val="-0.193779017808487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724235952186394"/>
                  <c:y val="0.15225494256381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-6.4658848206989819E-2"/>
                  <c:y val="0.1314929049414738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0.17781183256922189"/>
                  <c:y val="0.124572225734027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724235952186394"/>
                  <c:y val="4.84447544521219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5625888316689196"/>
                  <c:y val="-1.38413584148919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2931769641397955"/>
                  <c:y val="-7.61274712819059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12392945906339711"/>
                  <c:y val="-8.99688296967979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0.11854122171281459"/>
                  <c:y val="-0.166096300978703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4.3105898804659849E-2"/>
                  <c:y val="-0.145334263356365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307</c:v>
                </c:pt>
                <c:pt idx="1">
                  <c:v>0.124</c:v>
                </c:pt>
                <c:pt idx="2">
                  <c:v>0.2</c:v>
                </c:pt>
                <c:pt idx="3">
                  <c:v>9.2999999999999999E-2</c:v>
                </c:pt>
                <c:pt idx="4">
                  <c:v>1.2E-2</c:v>
                </c:pt>
                <c:pt idx="5">
                  <c:v>7.3999999999999996E-2</c:v>
                </c:pt>
                <c:pt idx="6">
                  <c:v>7.5999999999999998E-2</c:v>
                </c:pt>
                <c:pt idx="7">
                  <c:v>0</c:v>
                </c:pt>
                <c:pt idx="8">
                  <c:v>0</c:v>
                </c:pt>
                <c:pt idx="9">
                  <c:v>0.1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8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rgbClr val="6E6E71"/>
                </a:solidFill>
                <a:latin typeface="+mn-lt"/>
                <a:ea typeface="+mn-ea"/>
                <a:cs typeface="+mn-cs"/>
              </a:defRPr>
            </a:pPr>
            <a:r>
              <a:rPr lang="en-US" sz="1050" dirty="0">
                <a:solidFill>
                  <a:srgbClr val="6E6E71"/>
                </a:solidFill>
              </a:rPr>
              <a:t>KILDARE</a:t>
            </a:r>
          </a:p>
        </c:rich>
      </c:tx>
      <c:layout>
        <c:manualLayout>
          <c:xMode val="edge"/>
          <c:yMode val="edge"/>
          <c:x val="0.42061726289422163"/>
          <c:y val="0.4055903556514244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rgbClr val="6E6E7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835410138201925"/>
          <c:y val="6.0473598750529739E-2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Kildar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2392967119872574"/>
                  <c:y val="-0.14975341674477408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F7F7F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769442839287121"/>
                      <c:h val="0.105159993024827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3382896631545541"/>
                  <c:y val="-0.13841358414891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0.11854122171281439"/>
                  <c:y val="0.166096300978703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7.0047085557572261E-2"/>
                  <c:y val="0.15225494256381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6164712051747443"/>
                  <c:y val="0.131492904941473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7242359521863937"/>
                  <c:y val="7.61274712819059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8320006991980436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21552949402329924"/>
                  <c:y val="-3.46033960372300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0.19397654462096933"/>
                  <c:y val="-0.1245722257340279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-0.15625888316689196"/>
                  <c:y val="-0.159175621771257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23899999999999999</c:v>
                </c:pt>
                <c:pt idx="1">
                  <c:v>4.9000000000000002E-2</c:v>
                </c:pt>
                <c:pt idx="2">
                  <c:v>0.24</c:v>
                </c:pt>
                <c:pt idx="3">
                  <c:v>8.6999999999999994E-2</c:v>
                </c:pt>
                <c:pt idx="4">
                  <c:v>4.2000000000000003E-2</c:v>
                </c:pt>
                <c:pt idx="5">
                  <c:v>0.06</c:v>
                </c:pt>
                <c:pt idx="6">
                  <c:v>0.1</c:v>
                </c:pt>
                <c:pt idx="7">
                  <c:v>5.7000000000000002E-2</c:v>
                </c:pt>
                <c:pt idx="8">
                  <c:v>1.2999999999999999E-2</c:v>
                </c:pt>
                <c:pt idx="9">
                  <c:v>0.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8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rgbClr val="6E6E71"/>
                </a:solidFill>
                <a:latin typeface="+mn-lt"/>
                <a:ea typeface="+mn-ea"/>
                <a:cs typeface="+mn-cs"/>
              </a:defRPr>
            </a:pPr>
            <a:r>
              <a:rPr lang="en-US" sz="1050" dirty="0">
                <a:solidFill>
                  <a:srgbClr val="6E6E71"/>
                </a:solidFill>
              </a:rPr>
              <a:t>LOUTH/</a:t>
            </a:r>
          </a:p>
          <a:p>
            <a:pPr>
              <a:defRPr sz="1050">
                <a:solidFill>
                  <a:srgbClr val="6E6E71"/>
                </a:solidFill>
              </a:defRPr>
            </a:pPr>
            <a:r>
              <a:rPr lang="en-US" sz="1050" dirty="0">
                <a:solidFill>
                  <a:srgbClr val="6E6E71"/>
                </a:solidFill>
              </a:rPr>
              <a:t>MEATH</a:t>
            </a:r>
          </a:p>
        </c:rich>
      </c:tx>
      <c:layout>
        <c:manualLayout>
          <c:xMode val="edge"/>
          <c:yMode val="edge"/>
          <c:x val="0.4260055002448041"/>
          <c:y val="0.405590491967652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rgbClr val="6E6E7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835410138201925"/>
          <c:y val="6.0473598750529739E-2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outh/Meath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1854122171281459"/>
                  <c:y val="-0.159175621771257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2860958868656824"/>
                  <c:y val="0.18685833860104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0.11854122171281449"/>
                  <c:y val="0.117651546526581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9.6988272310484666E-2"/>
                  <c:y val="0.1314929049414738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8320006991980439"/>
                  <c:y val="5.53654336595679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22091773137388174"/>
                  <c:y val="-4.15240752446760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7745629375821495"/>
                  <c:y val="-4.84447544521219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22630596872446421"/>
                  <c:y val="-0.131492904941473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0.1993647819715518"/>
                  <c:y val="-0.2353030930531638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-3.2329424103494937E-2"/>
                  <c:y val="-0.1613635372844780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%</c:formatCode>
                <c:ptCount val="10"/>
                <c:pt idx="0">
                  <c:v>0.38700000000000001</c:v>
                </c:pt>
                <c:pt idx="1">
                  <c:v>2.5999999999999999E-2</c:v>
                </c:pt>
                <c:pt idx="2">
                  <c:v>0.151</c:v>
                </c:pt>
                <c:pt idx="3">
                  <c:v>7.2999999999999995E-2</c:v>
                </c:pt>
                <c:pt idx="4">
                  <c:v>1.6E-2</c:v>
                </c:pt>
                <c:pt idx="5">
                  <c:v>6.0999999999999999E-2</c:v>
                </c:pt>
                <c:pt idx="6">
                  <c:v>0.105</c:v>
                </c:pt>
                <c:pt idx="7">
                  <c:v>1.2E-2</c:v>
                </c:pt>
                <c:pt idx="8">
                  <c:v>4.0000000000000001E-3</c:v>
                </c:pt>
                <c:pt idx="9">
                  <c:v>0.1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8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EXFORD</a:t>
            </a:r>
          </a:p>
        </c:rich>
      </c:tx>
      <c:layout>
        <c:manualLayout>
          <c:xMode val="edge"/>
          <c:yMode val="edge"/>
          <c:x val="0.38038113081706892"/>
          <c:y val="0.498288902936111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4218938933027179"/>
          <c:y val="0.13033328247269871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exford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3470593376456194"/>
                  <c:y val="-0.166096300978703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6703535786805693"/>
                  <c:y val="0.145334263356365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-0.15625888316689199"/>
                  <c:y val="0.1176515465265818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0.18320006991980436"/>
                  <c:y val="2.76827168297839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6164712051747443"/>
                  <c:y val="-2.07620376223379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21014125667271677"/>
                  <c:y val="-6.92067920744599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2931769641397955"/>
                  <c:y val="-0.1038101881116899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10237650966106719"/>
                  <c:y val="-0.166096300978703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0.11854122171281463"/>
                  <c:y val="-0.103810188111689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8.0823560258737118E-2"/>
                  <c:y val="-0.179937659393595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39700000000000002</c:v>
                </c:pt>
                <c:pt idx="1">
                  <c:v>0.17100000000000001</c:v>
                </c:pt>
                <c:pt idx="2">
                  <c:v>0.14099999999999999</c:v>
                </c:pt>
                <c:pt idx="3">
                  <c:v>2.7E-2</c:v>
                </c:pt>
                <c:pt idx="4">
                  <c:v>3.1E-2</c:v>
                </c:pt>
                <c:pt idx="5">
                  <c:v>5.8000000000000003E-2</c:v>
                </c:pt>
                <c:pt idx="6">
                  <c:v>0.14000000000000001</c:v>
                </c:pt>
                <c:pt idx="7">
                  <c:v>0</c:v>
                </c:pt>
                <c:pt idx="8">
                  <c:v>0</c:v>
                </c:pt>
                <c:pt idx="9">
                  <c:v>3.5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230286405492739E-2"/>
          <c:y val="7.9479167282902566E-2"/>
          <c:w val="0.95145721728130794"/>
          <c:h val="0.525280621110757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763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
Group</c:v>
                </c:pt>
                <c:pt idx="2">
                  <c:v>IRS
Plus</c:v>
                </c:pt>
                <c:pt idx="3">
                  <c:v>Onic 
Urban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69</c:v>
                </c:pt>
                <c:pt idx="1">
                  <c:v>873</c:v>
                </c:pt>
                <c:pt idx="2">
                  <c:v>304</c:v>
                </c:pt>
                <c:pt idx="3">
                  <c:v>3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7D-4BB7-A489-34E2559918F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1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rgbClr val="7F7F7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TE</c:v>
                </c:pt>
                <c:pt idx="1">
                  <c:v>Media Central
Group</c:v>
                </c:pt>
                <c:pt idx="2">
                  <c:v>IRS
Plus</c:v>
                </c:pt>
                <c:pt idx="3">
                  <c:v>Onic 
Urban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433</c:v>
                </c:pt>
                <c:pt idx="1">
                  <c:v>876</c:v>
                </c:pt>
                <c:pt idx="2">
                  <c:v>314</c:v>
                </c:pt>
                <c:pt idx="3">
                  <c:v>3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7D-4BB7-A489-34E2559918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1290112"/>
        <c:axId val="161291648"/>
      </c:barChart>
      <c:catAx>
        <c:axId val="16129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91648"/>
        <c:crosses val="autoZero"/>
        <c:auto val="1"/>
        <c:lblAlgn val="ctr"/>
        <c:lblOffset val="100"/>
        <c:noMultiLvlLbl val="0"/>
      </c:catAx>
      <c:valAx>
        <c:axId val="161291648"/>
        <c:scaling>
          <c:orientation val="minMax"/>
          <c:max val="1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290112"/>
        <c:crosses val="autoZero"/>
        <c:crossBetween val="between"/>
        <c:majorUnit val="1000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8876030959382485"/>
          <c:y val="0.86245674899666258"/>
          <c:w val="0.23728357319078397"/>
          <c:h val="0.1242457718138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rgbClr val="7F7F7F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 b="1">
          <a:solidFill>
            <a:srgbClr val="7F7F7F"/>
          </a:solidFill>
        </a:defRPr>
      </a:pPr>
      <a:endParaRPr lang="en-US"/>
    </a:p>
  </c:txPr>
  <c:externalData r:id="rId3">
    <c:autoUpdate val="0"/>
  </c:externalData>
</c:chartSpace>
</file>

<file path=ppt/charts/chart9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40305203340198026"/>
          <c:y val="0.49828890293611178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IE" sz="960" b="1" i="0" u="none" strike="noStrike" kern="1200" baseline="0" noProof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4218938933027179"/>
          <c:y val="0.13098611504675547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ICKLOW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2392945906339697"/>
                  <c:y val="-9.68895089042439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0776474701164952"/>
                  <c:y val="0.145334263356365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0.18320006991980425"/>
                  <c:y val="0.145334263356365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7.5435322908154731E-2"/>
                  <c:y val="0.12386054013993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724235952186394"/>
                  <c:y val="5.53654336595679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6703535786805693"/>
                  <c:y val="3.46033960372299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8320006991980436"/>
                  <c:y val="-1.38413584148919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24785891812679414"/>
                  <c:y val="-0.13841358414891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0.1239294590633971"/>
                  <c:y val="-0.18685833860104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4.8494136155242229E-2"/>
                  <c:y val="-0.193779017808487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22600000000000001</c:v>
                </c:pt>
                <c:pt idx="1">
                  <c:v>0</c:v>
                </c:pt>
                <c:pt idx="2">
                  <c:v>0.22800000000000001</c:v>
                </c:pt>
                <c:pt idx="3">
                  <c:v>0.127</c:v>
                </c:pt>
                <c:pt idx="4">
                  <c:v>3.3000000000000002E-2</c:v>
                </c:pt>
                <c:pt idx="5">
                  <c:v>8.7999999999999995E-2</c:v>
                </c:pt>
                <c:pt idx="6">
                  <c:v>0.122</c:v>
                </c:pt>
                <c:pt idx="7">
                  <c:v>1.2999999999999999E-2</c:v>
                </c:pt>
                <c:pt idx="8">
                  <c:v>5.0000000000000001E-3</c:v>
                </c:pt>
                <c:pt idx="9">
                  <c:v>0.1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9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40305203340198026"/>
          <c:y val="0.49828890293611178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4218938933027179"/>
          <c:y val="0.13033328247269871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IMERICK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2392945906339697"/>
                  <c:y val="-0.13841358414891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2931769641397955"/>
                  <c:y val="9.68895089042438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-0.12931769641397955"/>
                  <c:y val="0.1107308673191358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0.10776474701164962"/>
                  <c:y val="0.1660963009787036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4548240846572699"/>
                  <c:y val="4.84447544521219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6164712051747443"/>
                  <c:y val="-6.3438826550850549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670353578680569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15625888316689199"/>
                  <c:y val="-6.92067920744599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8.082356025873727E-2"/>
                  <c:y val="-0.166096300978703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-1.0776474701165061E-2"/>
                  <c:y val="-0.2049796194171371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251</c:v>
                </c:pt>
                <c:pt idx="1">
                  <c:v>0.151</c:v>
                </c:pt>
                <c:pt idx="2">
                  <c:v>0.187</c:v>
                </c:pt>
                <c:pt idx="3">
                  <c:v>5.3999999999999999E-2</c:v>
                </c:pt>
                <c:pt idx="4">
                  <c:v>3.5000000000000003E-2</c:v>
                </c:pt>
                <c:pt idx="5">
                  <c:v>4.2999999999999997E-2</c:v>
                </c:pt>
                <c:pt idx="6">
                  <c:v>0.13500000000000001</c:v>
                </c:pt>
                <c:pt idx="7">
                  <c:v>0</c:v>
                </c:pt>
                <c:pt idx="8">
                  <c:v>9.4E-2</c:v>
                </c:pt>
                <c:pt idx="9">
                  <c:v>4.5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9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38149908399965038"/>
          <c:y val="0.49828890293611178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4218938933027179"/>
          <c:y val="0.13033328247269871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IPPERARY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131529843622321"/>
                  <c:y val="-0.2076203762233799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7356276193409709"/>
                  <c:y val="0.16837195108660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-0.14009417111514452"/>
                  <c:y val="0.110730867319135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0.20475301932213427"/>
                  <c:y val="0.166096300978703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21014125667271677"/>
                  <c:y val="7.61274712819059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8320006991980436"/>
                  <c:y val="-2.76827168297839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23708244342562917"/>
                  <c:y val="-2.76827168297840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9.1600034959902182E-2"/>
                  <c:y val="-0.15225494256381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0.15625888316689196"/>
                  <c:y val="-8.99688296967979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0"/>
                  <c:y val="-0.2076203762233798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35699999999999998</c:v>
                </c:pt>
                <c:pt idx="1">
                  <c:v>0.13500000000000001</c:v>
                </c:pt>
                <c:pt idx="2">
                  <c:v>0.17299999999999999</c:v>
                </c:pt>
                <c:pt idx="3">
                  <c:v>6.2E-2</c:v>
                </c:pt>
                <c:pt idx="4">
                  <c:v>2.1999999999999999E-2</c:v>
                </c:pt>
                <c:pt idx="5">
                  <c:v>3.2000000000000001E-2</c:v>
                </c:pt>
                <c:pt idx="6">
                  <c:v>0.151</c:v>
                </c:pt>
                <c:pt idx="7">
                  <c:v>0</c:v>
                </c:pt>
                <c:pt idx="8">
                  <c:v>0</c:v>
                </c:pt>
                <c:pt idx="9">
                  <c:v>6.4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9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ONEGAL</a:t>
            </a:r>
          </a:p>
          <a:p>
            <a:pPr>
              <a:defRPr sz="800">
                <a:solidFill>
                  <a:schemeClr val="bg1">
                    <a:lumMod val="50000"/>
                  </a:schemeClr>
                </a:solidFill>
              </a:defRPr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NORTH</a:t>
            </a:r>
          </a:p>
        </c:rich>
      </c:tx>
      <c:layout>
        <c:manualLayout>
          <c:xMode val="edge"/>
          <c:yMode val="edge"/>
          <c:x val="0.37779392159313413"/>
          <c:y val="0.4636855068988817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4218938933027179"/>
          <c:y val="0.13033328247269871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DONEGAL NTH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1218649752114319"/>
                  <c:y val="0.159175621771257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-0.17195767195767195"/>
                  <c:y val="6.92067920744598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-0.1984126984126984"/>
                  <c:y val="2.76827168297839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0.2116402116402116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6534391534391538"/>
                  <c:y val="-8.30481504893519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8.5978835978836016E-2"/>
                  <c:y val="-0.173016980186149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8.5978835978835974E-2"/>
                  <c:y val="-0.214541055430825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0.12566137566137567"/>
                  <c:y val="-0.193779017808487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6.6137566137566134E-3"/>
                  <c:y val="-0.2353030930531638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0.15211640211640212"/>
                  <c:y val="-0.103810188111689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65200000000000002</c:v>
                </c:pt>
                <c:pt idx="1">
                  <c:v>9.6000000000000002E-2</c:v>
                </c:pt>
                <c:pt idx="2">
                  <c:v>7.1999999999999995E-2</c:v>
                </c:pt>
                <c:pt idx="3">
                  <c:v>0.05</c:v>
                </c:pt>
                <c:pt idx="4">
                  <c:v>3.0000000000000001E-3</c:v>
                </c:pt>
                <c:pt idx="5">
                  <c:v>2.5000000000000001E-2</c:v>
                </c:pt>
                <c:pt idx="6">
                  <c:v>7.3999999999999996E-2</c:v>
                </c:pt>
                <c:pt idx="7">
                  <c:v>0</c:v>
                </c:pt>
                <c:pt idx="8">
                  <c:v>0</c:v>
                </c:pt>
                <c:pt idx="9">
                  <c:v>6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9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YO</a:t>
            </a:r>
          </a:p>
        </c:rich>
      </c:tx>
      <c:layout>
        <c:manualLayout>
          <c:xMode val="edge"/>
          <c:yMode val="edge"/>
          <c:x val="0.43474982293879938"/>
          <c:y val="0.498288902936111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4218938933027179"/>
          <c:y val="0.13033328247269871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AYO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8.5978835978835974E-2"/>
                  <c:y val="0.2353030930531638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-0.11904761904761904"/>
                  <c:y val="0.1453342633563658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-0.1785714285714286"/>
                  <c:y val="5.53654336595679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0.20502645502645506"/>
                  <c:y val="5.53654336595679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20502645502645503"/>
                  <c:y val="-1.38413584148920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6534391534391535"/>
                  <c:y val="-0.13841358414891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7.9365079365079333E-2"/>
                  <c:y val="-0.173016980186149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1653439153439154"/>
                  <c:y val="-0.214541055430825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3.968253968253968E-2"/>
                  <c:y val="-0.256065130675501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9.920634920634909E-2"/>
                  <c:y val="-0.173016980186149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503</c:v>
                </c:pt>
                <c:pt idx="1">
                  <c:v>0.126</c:v>
                </c:pt>
                <c:pt idx="2">
                  <c:v>0.14199999999999999</c:v>
                </c:pt>
                <c:pt idx="3">
                  <c:v>5.6000000000000001E-2</c:v>
                </c:pt>
                <c:pt idx="4">
                  <c:v>0.02</c:v>
                </c:pt>
                <c:pt idx="5">
                  <c:v>4.2999999999999997E-2</c:v>
                </c:pt>
                <c:pt idx="6">
                  <c:v>8.3000000000000004E-2</c:v>
                </c:pt>
                <c:pt idx="7">
                  <c:v>0</c:v>
                </c:pt>
                <c:pt idx="8">
                  <c:v>0</c:v>
                </c:pt>
                <c:pt idx="9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9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'FORD/</a:t>
            </a:r>
          </a:p>
          <a:p>
            <a:pPr>
              <a:defRPr sz="800">
                <a:solidFill>
                  <a:schemeClr val="bg1">
                    <a:lumMod val="50000"/>
                  </a:schemeClr>
                </a:solidFill>
              </a:defRPr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ROS/</a:t>
            </a:r>
          </a:p>
          <a:p>
            <a:pPr>
              <a:defRPr sz="800">
                <a:solidFill>
                  <a:schemeClr val="bg1">
                    <a:lumMod val="50000"/>
                  </a:schemeClr>
                </a:solidFill>
              </a:defRPr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 LEITRIM</a:t>
            </a:r>
          </a:p>
        </c:rich>
      </c:tx>
      <c:layout>
        <c:manualLayout>
          <c:xMode val="edge"/>
          <c:yMode val="edge"/>
          <c:x val="0.38442434279048454"/>
          <c:y val="0.4221614316542058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4218938933027179"/>
          <c:y val="0.13033328247269871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'FORD/ROS/S LEITRIM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9.920634920634909E-2"/>
                  <c:y val="-0.235303093053163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1904761904761904"/>
                  <c:y val="0.117651546526581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-5.9523809523809583E-2"/>
                  <c:y val="0.1314929049414738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0.17195767195767195"/>
                  <c:y val="0.117651546526581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6534391534391535"/>
                  <c:y val="-4.15240752446760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5211640211640212"/>
                  <c:y val="-6.92067920744599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917989417989418"/>
                  <c:y val="-6.92067920744599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17195767195767195"/>
                  <c:y val="-0.117651546526581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0.16534391534391538"/>
                  <c:y val="-0.2076203762233798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5.9523809523809521E-2"/>
                  <c:y val="-0.18685833860104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45200000000000001</c:v>
                </c:pt>
                <c:pt idx="1">
                  <c:v>0.122</c:v>
                </c:pt>
                <c:pt idx="2">
                  <c:v>0.14699999999999999</c:v>
                </c:pt>
                <c:pt idx="3">
                  <c:v>3.1E-2</c:v>
                </c:pt>
                <c:pt idx="4">
                  <c:v>1.4E-2</c:v>
                </c:pt>
                <c:pt idx="5">
                  <c:v>5.0999999999999997E-2</c:v>
                </c:pt>
                <c:pt idx="6">
                  <c:v>0.14799999999999999</c:v>
                </c:pt>
                <c:pt idx="7">
                  <c:v>0</c:v>
                </c:pt>
                <c:pt idx="8">
                  <c:v>0</c:v>
                </c:pt>
                <c:pt idx="9">
                  <c:v>3.5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9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CAVAN/</a:t>
            </a:r>
          </a:p>
          <a:p>
            <a:pPr>
              <a:defRPr sz="800">
                <a:solidFill>
                  <a:schemeClr val="bg1">
                    <a:lumMod val="50000"/>
                  </a:schemeClr>
                </a:solidFill>
              </a:defRPr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MONAGHAN</a:t>
            </a:r>
          </a:p>
        </c:rich>
      </c:tx>
      <c:layout>
        <c:manualLayout>
          <c:xMode val="edge"/>
          <c:yMode val="edge"/>
          <c:x val="0.35978835978835977"/>
          <c:y val="0.46368550689888177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4218938933027179"/>
          <c:y val="0.13033328247269871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AVAN/MONAGHAN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7.936507936507925E-2"/>
                  <c:y val="-0.3391132811648538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-0.11243386243386247"/>
                  <c:y val="0.173016980186149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-0.1917989417989418"/>
                  <c:y val="0.131492904941473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0.1917989417989418"/>
                  <c:y val="2.76827168297839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984126984126984"/>
                  <c:y val="-6.920679207446060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21164021164021163"/>
                  <c:y val="-4.84447544521219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22486772486772486"/>
                  <c:y val="-9.68892364365586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031746031746033"/>
                      <c:h val="8.439795540248924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21825396825396828"/>
                  <c:y val="-0.193779017808487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6.6137566137566134E-2"/>
                  <c:y val="-0.2491444514680558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6.6137566137566023E-2"/>
                  <c:y val="-0.193779017808487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47</c:v>
                </c:pt>
                <c:pt idx="1">
                  <c:v>0.112</c:v>
                </c:pt>
                <c:pt idx="2">
                  <c:v>0.113</c:v>
                </c:pt>
                <c:pt idx="3">
                  <c:v>6.5000000000000002E-2</c:v>
                </c:pt>
                <c:pt idx="4">
                  <c:v>8.9999999999999993E-3</c:v>
                </c:pt>
                <c:pt idx="5">
                  <c:v>4.3999999999999997E-2</c:v>
                </c:pt>
                <c:pt idx="6">
                  <c:v>9.2999999999999999E-2</c:v>
                </c:pt>
                <c:pt idx="7">
                  <c:v>0</c:v>
                </c:pt>
                <c:pt idx="8">
                  <c:v>0</c:v>
                </c:pt>
                <c:pt idx="9">
                  <c:v>9.19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9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n-NO" sz="900" b="1" i="0" baseline="0" dirty="0">
                <a:effectLst/>
              </a:rPr>
              <a:t>S.DON /</a:t>
            </a:r>
            <a:endParaRPr lang="en-IE" sz="900" dirty="0">
              <a:effectLst/>
            </a:endParaRPr>
          </a:p>
          <a:p>
            <a:pPr>
              <a:defRPr sz="900">
                <a:solidFill>
                  <a:schemeClr val="bg1">
                    <a:lumMod val="50000"/>
                  </a:schemeClr>
                </a:solidFill>
              </a:defRPr>
            </a:pPr>
            <a:r>
              <a:rPr lang="nn-NO" sz="900" b="1" i="0" baseline="0" dirty="0">
                <a:effectLst/>
              </a:rPr>
              <a:t>SLIGO/</a:t>
            </a:r>
            <a:endParaRPr lang="en-IE" sz="900" dirty="0">
              <a:effectLst/>
            </a:endParaRPr>
          </a:p>
          <a:p>
            <a:pPr>
              <a:defRPr sz="900">
                <a:solidFill>
                  <a:schemeClr val="bg1">
                    <a:lumMod val="50000"/>
                  </a:schemeClr>
                </a:solidFill>
              </a:defRPr>
            </a:pPr>
            <a:r>
              <a:rPr lang="nn-NO" sz="900" b="1" i="0" baseline="0" dirty="0">
                <a:effectLst/>
              </a:rPr>
              <a:t>N.LEIT</a:t>
            </a:r>
            <a:endParaRPr lang="en-IE" sz="900" dirty="0">
              <a:effectLst/>
            </a:endParaRPr>
          </a:p>
        </c:rich>
      </c:tx>
      <c:layout>
        <c:manualLayout>
          <c:xMode val="edge"/>
          <c:yMode val="edge"/>
          <c:x val="0.39763519143440401"/>
          <c:y val="0.41524075244675979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IE"/>
        </a:p>
      </c:txPr>
    </c:title>
    <c:autoTitleDeleted val="0"/>
    <c:plotArea>
      <c:layout>
        <c:manualLayout>
          <c:layoutTarget val="inner"/>
          <c:xMode val="edge"/>
          <c:yMode val="edge"/>
          <c:x val="0.24218938933027179"/>
          <c:y val="0.13033328247269871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TH DONEGAL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7.9365079365079361E-2"/>
                  <c:y val="-0.24222377226060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5211640211640212"/>
                  <c:y val="8.99688296967979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7.2751322751322692E-2"/>
                  <c:y val="0.15225494256381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0.15211640211640212"/>
                  <c:y val="0.131492904941473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4550264550264549"/>
                  <c:y val="5.53654336595679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6534391534391535"/>
                  <c:y val="1.38413584148919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917989417989418"/>
                  <c:y val="-3.46033960372299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21164021164021163"/>
                  <c:y val="-5.53654336595679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0.14550264550264549"/>
                  <c:y val="-0.166096300978703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-5.2910052910052907E-2"/>
                  <c:y val="-0.193779017808487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33200000000000002</c:v>
                </c:pt>
                <c:pt idx="1">
                  <c:v>9.9000000000000005E-2</c:v>
                </c:pt>
                <c:pt idx="2">
                  <c:v>0.13400000000000001</c:v>
                </c:pt>
                <c:pt idx="3">
                  <c:v>6.8000000000000005E-2</c:v>
                </c:pt>
                <c:pt idx="4">
                  <c:v>1.2E-2</c:v>
                </c:pt>
                <c:pt idx="5">
                  <c:v>8.8999999999999996E-2</c:v>
                </c:pt>
                <c:pt idx="6">
                  <c:v>0.106</c:v>
                </c:pt>
                <c:pt idx="7">
                  <c:v>0</c:v>
                </c:pt>
                <c:pt idx="8">
                  <c:v>0</c:v>
                </c:pt>
                <c:pt idx="9">
                  <c:v>0.1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9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rgbClr val="6E6E71"/>
                </a:solidFill>
                <a:latin typeface="+mn-lt"/>
                <a:ea typeface="+mn-ea"/>
                <a:cs typeface="+mn-cs"/>
              </a:defRPr>
            </a:pPr>
            <a:r>
              <a:rPr lang="en-US" sz="1000" dirty="0">
                <a:solidFill>
                  <a:srgbClr val="6E6E71"/>
                </a:solidFill>
              </a:rPr>
              <a:t>CLARE</a:t>
            </a:r>
          </a:p>
        </c:rich>
      </c:tx>
      <c:layout>
        <c:manualLayout>
          <c:xMode val="edge"/>
          <c:yMode val="edge"/>
          <c:x val="0.43139373759538663"/>
          <c:y val="0.405590491967652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rgbClr val="6E6E7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835410138201925"/>
          <c:y val="6.0473598750529739E-2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LAR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1854122171281459"/>
                  <c:y val="-0.1314929049414739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1854122171281459"/>
                  <c:y val="0.166096300978703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-0.11854122171281459"/>
                  <c:y val="0.13841358414891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0.17781183256922187"/>
                  <c:y val="8.99688296967979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21552949402329924"/>
                  <c:y val="2.7682716829784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6703535786805693"/>
                  <c:y val="-5.53654336595679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7781183256922187"/>
                  <c:y val="-9.68895089042439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15087064581630946"/>
                  <c:y val="-0.145334263356365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7.5435322908154731E-2"/>
                  <c:y val="-0.13841358414891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7.004708555757215E-2"/>
                  <c:y val="-0.131492904941473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F7F7F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36199999999999999</c:v>
                </c:pt>
                <c:pt idx="1">
                  <c:v>0.13200000000000001</c:v>
                </c:pt>
                <c:pt idx="2">
                  <c:v>0.224</c:v>
                </c:pt>
                <c:pt idx="3">
                  <c:v>6.5000000000000002E-2</c:v>
                </c:pt>
                <c:pt idx="4">
                  <c:v>1.4999999999999999E-2</c:v>
                </c:pt>
                <c:pt idx="5">
                  <c:v>5.3999999999999999E-2</c:v>
                </c:pt>
                <c:pt idx="6">
                  <c:v>5.8000000000000003E-2</c:v>
                </c:pt>
                <c:pt idx="7">
                  <c:v>0</c:v>
                </c:pt>
                <c:pt idx="8">
                  <c:v>6.2E-2</c:v>
                </c:pt>
                <c:pt idx="9">
                  <c:v>2.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9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42277298210511216"/>
          <c:y val="0.40139939403186781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rgbClr val="6E6E7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835410138201925"/>
          <c:y val="6.0473598750529739E-2"/>
          <c:w val="0.59502559624876861"/>
          <c:h val="0.83476601002814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GALWAY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17-42FF-9B06-DCF35E58BCB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17-42FF-9B06-DCF35E58BCB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17-42FF-9B06-DCF35E58BCB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17-42FF-9B06-DCF35E58BCB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17-42FF-9B06-DCF35E58BCB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17-42FF-9B06-DCF35E58BCB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17-42FF-9B06-DCF35E58BCB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17-42FF-9B06-DCF35E58BCB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6F3-427A-8E71-F082F6A00D53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17-42FF-9B06-DCF35E58BCBD}"/>
              </c:ext>
            </c:extLst>
          </c:dPt>
          <c:dLbls>
            <c:dLbl>
              <c:idx val="0"/>
              <c:layout>
                <c:manualLayout>
                  <c:x val="0.12931769641397964"/>
                  <c:y val="-0.131492904941473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17-42FF-9B06-DCF35E58BCBD}"/>
                </c:ext>
              </c:extLst>
            </c:dLbl>
            <c:dLbl>
              <c:idx val="1"/>
              <c:layout>
                <c:manualLayout>
                  <c:x val="0.15087064581630946"/>
                  <c:y val="0.138413584148919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17-42FF-9B06-DCF35E58BCBD}"/>
                </c:ext>
              </c:extLst>
            </c:dLbl>
            <c:dLbl>
              <c:idx val="2"/>
              <c:layout>
                <c:manualLayout>
                  <c:x val="8.0823560258737118E-2"/>
                  <c:y val="0.131492904941473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17-42FF-9B06-DCF35E58BCBD}"/>
                </c:ext>
              </c:extLst>
            </c:dLbl>
            <c:dLbl>
              <c:idx val="3"/>
              <c:layout>
                <c:manualLayout>
                  <c:x val="-0.12392945906339707"/>
                  <c:y val="0.166096300978703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17-42FF-9B06-DCF35E58BCBD}"/>
                </c:ext>
              </c:extLst>
            </c:dLbl>
            <c:dLbl>
              <c:idx val="4"/>
              <c:layout>
                <c:manualLayout>
                  <c:x val="-0.1993647819715518"/>
                  <c:y val="4.84447544521219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17-42FF-9B06-DCF35E58BCBD}"/>
                </c:ext>
              </c:extLst>
            </c:dLbl>
            <c:dLbl>
              <c:idx val="5"/>
              <c:layout>
                <c:manualLayout>
                  <c:x val="-0.16703535786805693"/>
                  <c:y val="1.38413584148919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17-42FF-9B06-DCF35E58BCBD}"/>
                </c:ext>
              </c:extLst>
            </c:dLbl>
            <c:dLbl>
              <c:idx val="6"/>
              <c:layout>
                <c:manualLayout>
                  <c:x val="-0.16164712051747443"/>
                  <c:y val="-2.07620376223379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17-42FF-9B06-DCF35E58BCBD}"/>
                </c:ext>
              </c:extLst>
            </c:dLbl>
            <c:dLbl>
              <c:idx val="7"/>
              <c:layout>
                <c:manualLayout>
                  <c:x val="-0.18320006991980436"/>
                  <c:y val="-1.38413584148919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17-42FF-9B06-DCF35E58BCBD}"/>
                </c:ext>
              </c:extLst>
            </c:dLbl>
            <c:dLbl>
              <c:idx val="8"/>
              <c:layout>
                <c:manualLayout>
                  <c:x val="-0.21552949402329927"/>
                  <c:y val="-7.61274712819059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6F3-427A-8E71-F082F6A00D53}"/>
                </c:ext>
              </c:extLst>
            </c:dLbl>
            <c:dLbl>
              <c:idx val="9"/>
              <c:layout>
                <c:manualLayout>
                  <c:x val="-0.14548240846572699"/>
                  <c:y val="-0.138413584148919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17-42FF-9B06-DCF35E58BCB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rgbClr val="D9D9D9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HOME LOCAL STATION</c:v>
                </c:pt>
                <c:pt idx="1">
                  <c:v>REGIONAL STATION</c:v>
                </c:pt>
                <c:pt idx="2">
                  <c:v>RTE RADIO 1</c:v>
                </c:pt>
                <c:pt idx="3">
                  <c:v>RTE 2FM</c:v>
                </c:pt>
                <c:pt idx="4">
                  <c:v>RTE LYRIC FM</c:v>
                </c:pt>
                <c:pt idx="5">
                  <c:v>NEWSTALK</c:v>
                </c:pt>
                <c:pt idx="6">
                  <c:v>TODAY FM</c:v>
                </c:pt>
                <c:pt idx="7">
                  <c:v>RADIO NOVA 100FM</c:v>
                </c:pt>
                <c:pt idx="8">
                  <c:v>CLASSIC HITS 4FM</c:v>
                </c:pt>
                <c:pt idx="9">
                  <c:v>OTHER REGION/LOC/M-C/D-C</c:v>
                </c:pt>
              </c:strCache>
            </c:strRef>
          </c:cat>
          <c:val>
            <c:numRef>
              <c:f>Sheet1!$B$2:$B$11</c:f>
              <c:numCache>
                <c:formatCode>0.0%</c:formatCode>
                <c:ptCount val="10"/>
                <c:pt idx="0">
                  <c:v>0.32300000000000001</c:v>
                </c:pt>
                <c:pt idx="1">
                  <c:v>7.8E-2</c:v>
                </c:pt>
                <c:pt idx="2">
                  <c:v>0.16900000000000001</c:v>
                </c:pt>
                <c:pt idx="3">
                  <c:v>4.3999999999999997E-2</c:v>
                </c:pt>
                <c:pt idx="4">
                  <c:v>1.4999999999999999E-2</c:v>
                </c:pt>
                <c:pt idx="5">
                  <c:v>8.8999999999999996E-2</c:v>
                </c:pt>
                <c:pt idx="6">
                  <c:v>0.123</c:v>
                </c:pt>
                <c:pt idx="7">
                  <c:v>0</c:v>
                </c:pt>
                <c:pt idx="8">
                  <c:v>9.4E-2</c:v>
                </c:pt>
                <c:pt idx="9">
                  <c:v>4.8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817-42FF-9B06-DCF35E58B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0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0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0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0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0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0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0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0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0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0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1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1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1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1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1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1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1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1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1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1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2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7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7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7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7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7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7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7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7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7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7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8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8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8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8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8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8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8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8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8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8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9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9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9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9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9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9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9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9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9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9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F856ACF-B0A5-4C3E-AA8F-186775649BD1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E"/>
        </a:p>
      </dgm:t>
    </dgm:pt>
    <dgm:pt modelId="{76A5A9C8-23A0-4921-9103-1E0A93CC3A93}">
      <dgm:prSet phldrT="[Text]" custT="1"/>
      <dgm:spPr/>
      <dgm:t>
        <a:bodyPr/>
        <a:lstStyle/>
        <a:p>
          <a:pPr>
            <a:lnSpc>
              <a:spcPct val="100000"/>
            </a:lnSpc>
            <a:tabLst>
              <a:tab pos="3657600" algn="r"/>
            </a:tabLst>
          </a:pPr>
          <a:r>
            <a:rPr lang="en-IE" sz="1400" b="1" dirty="0"/>
            <a:t>The following charts outline Weekly Reach and 7am-7pm (PT) share for the 2025-3 JNLR Report.  </a:t>
          </a:r>
        </a:p>
      </dgm:t>
    </dgm:pt>
    <dgm:pt modelId="{289F6B96-4B63-4C9C-A862-95BD2851A373}" type="parTrans" cxnId="{789236C4-AB2B-4D2B-9B1C-9D9F6BE66D84}">
      <dgm:prSet/>
      <dgm:spPr/>
      <dgm:t>
        <a:bodyPr/>
        <a:lstStyle/>
        <a:p>
          <a:pPr>
            <a:lnSpc>
              <a:spcPct val="100000"/>
            </a:lnSpc>
          </a:pPr>
          <a:endParaRPr lang="en-IE" sz="1400" b="1"/>
        </a:p>
      </dgm:t>
    </dgm:pt>
    <dgm:pt modelId="{6F6B0921-FC3A-4287-B6B3-3721256D26B1}" type="sibTrans" cxnId="{789236C4-AB2B-4D2B-9B1C-9D9F6BE66D84}">
      <dgm:prSet/>
      <dgm:spPr/>
      <dgm:t>
        <a:bodyPr/>
        <a:lstStyle/>
        <a:p>
          <a:pPr>
            <a:lnSpc>
              <a:spcPct val="100000"/>
            </a:lnSpc>
          </a:pPr>
          <a:endParaRPr lang="en-IE" sz="1400" b="1"/>
        </a:p>
      </dgm:t>
    </dgm:pt>
    <dgm:pt modelId="{B6ECB4C2-1625-4164-9D41-D789FEE99D87}">
      <dgm:prSet phldrT="[Text]" custT="1"/>
      <dgm:spPr/>
      <dgm:t>
        <a:bodyPr/>
        <a:lstStyle/>
        <a:p>
          <a:pPr>
            <a:lnSpc>
              <a:spcPct val="100000"/>
            </a:lnSpc>
            <a:tabLst>
              <a:tab pos="3657600" algn="r"/>
            </a:tabLst>
          </a:pPr>
          <a:r>
            <a:rPr lang="en-IE" sz="1400" b="1" u="none" kern="1200" dirty="0"/>
            <a:t>Definitions:</a:t>
          </a:r>
        </a:p>
        <a:p>
          <a:pPr>
            <a:lnSpc>
              <a:spcPct val="100000"/>
            </a:lnSpc>
            <a:tabLst>
              <a:tab pos="3657600" algn="r"/>
            </a:tabLst>
          </a:pPr>
          <a:r>
            <a:rPr lang="en-IE" sz="1400" b="1" kern="1200" dirty="0">
              <a:solidFill>
                <a:prstClr val="white"/>
              </a:solidFill>
              <a:latin typeface="Arial"/>
              <a:ea typeface="+mn-ea"/>
              <a:cs typeface="+mn-cs"/>
            </a:rPr>
            <a:t>In this report, the definition of ‘RTE’ has been updated to include Raidio na Gaeltachta.  The data for the comparison period comprises RTE R1, RTE 2FM and RTE Lyric FM.</a:t>
          </a:r>
        </a:p>
        <a:p>
          <a:pPr>
            <a:lnSpc>
              <a:spcPct val="100000"/>
            </a:lnSpc>
            <a:tabLst>
              <a:tab pos="3657600" algn="r"/>
            </a:tabLst>
          </a:pPr>
          <a:r>
            <a:rPr lang="en-IE" sz="1400" b="1" u="sng" kern="1200" dirty="0"/>
            <a:t>Universe estimates and sample size </a:t>
          </a:r>
          <a:r>
            <a:rPr lang="en-IE" sz="1400" b="0" i="1" kern="1200" dirty="0"/>
            <a:t>– refer to 2025-3 data.</a:t>
          </a:r>
        </a:p>
      </dgm:t>
    </dgm:pt>
    <dgm:pt modelId="{4523C811-712D-4589-A711-7958124BB378}" type="parTrans" cxnId="{16EE5159-61AA-4E78-8709-F648E5958F36}">
      <dgm:prSet/>
      <dgm:spPr/>
      <dgm:t>
        <a:bodyPr/>
        <a:lstStyle/>
        <a:p>
          <a:pPr>
            <a:lnSpc>
              <a:spcPct val="100000"/>
            </a:lnSpc>
          </a:pPr>
          <a:endParaRPr lang="en-US" sz="1400"/>
        </a:p>
      </dgm:t>
    </dgm:pt>
    <dgm:pt modelId="{54812AE3-F07A-4858-8ABE-0DEA2C39D01A}" type="sibTrans" cxnId="{16EE5159-61AA-4E78-8709-F648E5958F36}">
      <dgm:prSet/>
      <dgm:spPr/>
      <dgm:t>
        <a:bodyPr/>
        <a:lstStyle/>
        <a:p>
          <a:pPr>
            <a:lnSpc>
              <a:spcPct val="100000"/>
            </a:lnSpc>
          </a:pPr>
          <a:endParaRPr lang="en-US" sz="1400"/>
        </a:p>
      </dgm:t>
    </dgm:pt>
    <dgm:pt modelId="{E99FBAB9-BF43-40CF-9883-2F7A718F7CB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400" b="1" dirty="0"/>
            <a:t>See Appendix for Sales house composition</a:t>
          </a:r>
        </a:p>
      </dgm:t>
    </dgm:pt>
    <dgm:pt modelId="{2818080B-D42A-49FE-B8D9-124300D92A66}" type="parTrans" cxnId="{C5BFA6CB-F55D-43E6-BD8E-592D5863F913}">
      <dgm:prSet/>
      <dgm:spPr/>
      <dgm:t>
        <a:bodyPr/>
        <a:lstStyle/>
        <a:p>
          <a:pPr>
            <a:lnSpc>
              <a:spcPct val="100000"/>
            </a:lnSpc>
          </a:pPr>
          <a:endParaRPr lang="en-US" sz="1400"/>
        </a:p>
      </dgm:t>
    </dgm:pt>
    <dgm:pt modelId="{5B8B6596-57DB-4BE9-B518-B76F1F7A2D6F}" type="sibTrans" cxnId="{C5BFA6CB-F55D-43E6-BD8E-592D5863F913}">
      <dgm:prSet/>
      <dgm:spPr/>
      <dgm:t>
        <a:bodyPr/>
        <a:lstStyle/>
        <a:p>
          <a:pPr>
            <a:lnSpc>
              <a:spcPct val="100000"/>
            </a:lnSpc>
          </a:pPr>
          <a:endParaRPr lang="en-US" sz="1400"/>
        </a:p>
      </dgm:t>
    </dgm:pt>
    <dgm:pt modelId="{A2F1D0AB-4AF4-4C13-8DCC-3EEB6C8475FA}">
      <dgm:prSet phldrT="[Text]" custT="1"/>
      <dgm:spPr/>
      <dgm:t>
        <a:bodyPr spcFirstLastPara="0" vert="horz" wrap="square" lIns="220256" tIns="0" rIns="220256" bIns="0" numCol="1" spcCol="1270" anchor="ctr" anchorCtr="0"/>
        <a:lstStyle/>
        <a:p>
          <a:pPr>
            <a:lnSpc>
              <a:spcPct val="100000"/>
            </a:lnSpc>
            <a:tabLst>
              <a:tab pos="3657600" algn="r"/>
            </a:tabLst>
          </a:pPr>
          <a:r>
            <a:rPr lang="en-GB" sz="1400" b="1" kern="1200" dirty="0"/>
            <a:t>This report is </a:t>
          </a:r>
          <a:r>
            <a:rPr lang="en-GB" sz="1400" b="1" kern="1200" dirty="0">
              <a:latin typeface="Arial"/>
              <a:ea typeface="+mn-ea"/>
              <a:cs typeface="+mn-cs"/>
            </a:rPr>
            <a:t>based</a:t>
          </a:r>
          <a:r>
            <a:rPr lang="en-GB" sz="1400" b="1" kern="1200" dirty="0"/>
            <a:t> on the 12-month period October 2024 to September 2025. </a:t>
          </a:r>
          <a:r>
            <a:rPr lang="en-IE" sz="1400" b="1" kern="1200" dirty="0">
              <a:solidFill>
                <a:prstClr val="white"/>
              </a:solidFill>
              <a:latin typeface="Arial"/>
              <a:ea typeface="+mn-ea"/>
              <a:cs typeface="+mn-cs"/>
            </a:rPr>
            <a:t>Reach data is compared, year on year, to the 2024-3 report.</a:t>
          </a:r>
        </a:p>
      </dgm:t>
    </dgm:pt>
    <dgm:pt modelId="{E477515A-EFC6-4E2C-A84C-DEA45AD90D53}" type="parTrans" cxnId="{31077FA1-2D4F-430D-83FC-322C1E853B79}">
      <dgm:prSet/>
      <dgm:spPr/>
      <dgm:t>
        <a:bodyPr/>
        <a:lstStyle/>
        <a:p>
          <a:pPr>
            <a:lnSpc>
              <a:spcPct val="100000"/>
            </a:lnSpc>
          </a:pPr>
          <a:endParaRPr lang="en-IE"/>
        </a:p>
      </dgm:t>
    </dgm:pt>
    <dgm:pt modelId="{569DC839-D1B7-4B05-866E-2FFC66C48264}" type="sibTrans" cxnId="{31077FA1-2D4F-430D-83FC-322C1E853B79}">
      <dgm:prSet/>
      <dgm:spPr/>
      <dgm:t>
        <a:bodyPr/>
        <a:lstStyle/>
        <a:p>
          <a:pPr>
            <a:lnSpc>
              <a:spcPct val="100000"/>
            </a:lnSpc>
          </a:pPr>
          <a:endParaRPr lang="en-IE"/>
        </a:p>
      </dgm:t>
    </dgm:pt>
    <dgm:pt modelId="{BD1D97F1-BE2F-4D39-BF4D-C0FBFF8BD085}" type="pres">
      <dgm:prSet presAssocID="{1F856ACF-B0A5-4C3E-AA8F-186775649BD1}" presName="linear" presStyleCnt="0">
        <dgm:presLayoutVars>
          <dgm:dir/>
          <dgm:animLvl val="lvl"/>
          <dgm:resizeHandles val="exact"/>
        </dgm:presLayoutVars>
      </dgm:prSet>
      <dgm:spPr/>
    </dgm:pt>
    <dgm:pt modelId="{8D3B6062-22E2-438B-8983-22772BEC7CBA}" type="pres">
      <dgm:prSet presAssocID="{76A5A9C8-23A0-4921-9103-1E0A93CC3A93}" presName="parentLin" presStyleCnt="0"/>
      <dgm:spPr/>
    </dgm:pt>
    <dgm:pt modelId="{C6EB17E0-1028-4289-BC92-B5E4A52D2CB1}" type="pres">
      <dgm:prSet presAssocID="{76A5A9C8-23A0-4921-9103-1E0A93CC3A93}" presName="parentLeftMargin" presStyleLbl="node1" presStyleIdx="0" presStyleCnt="4"/>
      <dgm:spPr/>
    </dgm:pt>
    <dgm:pt modelId="{98E3656C-8FBA-4C7E-9E9E-FAA9A51BE5AC}" type="pres">
      <dgm:prSet presAssocID="{76A5A9C8-23A0-4921-9103-1E0A93CC3A93}" presName="parentText" presStyleLbl="node1" presStyleIdx="0" presStyleCnt="4" custScaleX="132383" custScaleY="238274">
        <dgm:presLayoutVars>
          <dgm:chMax val="0"/>
          <dgm:bulletEnabled val="1"/>
        </dgm:presLayoutVars>
      </dgm:prSet>
      <dgm:spPr/>
    </dgm:pt>
    <dgm:pt modelId="{CEAD17AC-F291-4169-B907-1FFF8F694837}" type="pres">
      <dgm:prSet presAssocID="{76A5A9C8-23A0-4921-9103-1E0A93CC3A93}" presName="negativeSpace" presStyleCnt="0"/>
      <dgm:spPr/>
    </dgm:pt>
    <dgm:pt modelId="{9655322B-0851-4EFF-BAFC-6066031139AE}" type="pres">
      <dgm:prSet presAssocID="{76A5A9C8-23A0-4921-9103-1E0A93CC3A93}" presName="childText" presStyleLbl="conFgAcc1" presStyleIdx="0" presStyleCnt="4">
        <dgm:presLayoutVars>
          <dgm:bulletEnabled val="1"/>
        </dgm:presLayoutVars>
      </dgm:prSet>
      <dgm:spPr/>
    </dgm:pt>
    <dgm:pt modelId="{B342593E-1694-43C8-815E-26F534212757}" type="pres">
      <dgm:prSet presAssocID="{6F6B0921-FC3A-4287-B6B3-3721256D26B1}" presName="spaceBetweenRectangles" presStyleCnt="0"/>
      <dgm:spPr/>
    </dgm:pt>
    <dgm:pt modelId="{94520483-C122-49F2-B8FE-65569CF5F92A}" type="pres">
      <dgm:prSet presAssocID="{A2F1D0AB-4AF4-4C13-8DCC-3EEB6C8475FA}" presName="parentLin" presStyleCnt="0"/>
      <dgm:spPr/>
    </dgm:pt>
    <dgm:pt modelId="{2BE2A4C5-D9FB-40B0-8384-7F5B3AF8AFE7}" type="pres">
      <dgm:prSet presAssocID="{A2F1D0AB-4AF4-4C13-8DCC-3EEB6C8475FA}" presName="parentLeftMargin" presStyleLbl="node1" presStyleIdx="0" presStyleCnt="4"/>
      <dgm:spPr/>
    </dgm:pt>
    <dgm:pt modelId="{55BF9536-80A1-486F-87A9-671728621AC2}" type="pres">
      <dgm:prSet presAssocID="{A2F1D0AB-4AF4-4C13-8DCC-3EEB6C8475FA}" presName="parentText" presStyleLbl="node1" presStyleIdx="1" presStyleCnt="4" custScaleX="132254" custScaleY="142964" custLinFactNeighborX="3689">
        <dgm:presLayoutVars>
          <dgm:chMax val="0"/>
          <dgm:bulletEnabled val="1"/>
        </dgm:presLayoutVars>
      </dgm:prSet>
      <dgm:spPr>
        <a:xfrm>
          <a:off x="416232" y="1070255"/>
          <a:ext cx="7706773" cy="685799"/>
        </a:xfrm>
        <a:prstGeom prst="roundRect">
          <a:avLst/>
        </a:prstGeom>
      </dgm:spPr>
    </dgm:pt>
    <dgm:pt modelId="{D12290F9-3EDD-4550-AE33-06A5CBA61D66}" type="pres">
      <dgm:prSet presAssocID="{A2F1D0AB-4AF4-4C13-8DCC-3EEB6C8475FA}" presName="negativeSpace" presStyleCnt="0"/>
      <dgm:spPr/>
    </dgm:pt>
    <dgm:pt modelId="{D91C913E-4333-4A58-A741-B8037925BAF3}" type="pres">
      <dgm:prSet presAssocID="{A2F1D0AB-4AF4-4C13-8DCC-3EEB6C8475FA}" presName="childText" presStyleLbl="conFgAcc1" presStyleIdx="1" presStyleCnt="4">
        <dgm:presLayoutVars>
          <dgm:bulletEnabled val="1"/>
        </dgm:presLayoutVars>
      </dgm:prSet>
      <dgm:spPr/>
    </dgm:pt>
    <dgm:pt modelId="{B152167F-4D2F-4BDF-B077-71FF8CEF6370}" type="pres">
      <dgm:prSet presAssocID="{569DC839-D1B7-4B05-866E-2FFC66C48264}" presName="spaceBetweenRectangles" presStyleCnt="0"/>
      <dgm:spPr/>
    </dgm:pt>
    <dgm:pt modelId="{CD9ADFD1-A865-4B65-A624-8E9481043EDE}" type="pres">
      <dgm:prSet presAssocID="{B6ECB4C2-1625-4164-9D41-D789FEE99D87}" presName="parentLin" presStyleCnt="0"/>
      <dgm:spPr/>
    </dgm:pt>
    <dgm:pt modelId="{452A3147-EFB7-434F-9D87-4A884DE5CF6A}" type="pres">
      <dgm:prSet presAssocID="{B6ECB4C2-1625-4164-9D41-D789FEE99D87}" presName="parentLeftMargin" presStyleLbl="node1" presStyleIdx="1" presStyleCnt="4"/>
      <dgm:spPr/>
    </dgm:pt>
    <dgm:pt modelId="{7F6854C0-3DD0-4096-B68E-68EF430C2943}" type="pres">
      <dgm:prSet presAssocID="{B6ECB4C2-1625-4164-9D41-D789FEE99D87}" presName="parentText" presStyleLbl="node1" presStyleIdx="2" presStyleCnt="4" custScaleX="132097" custScaleY="289228" custLinFactNeighborX="4923">
        <dgm:presLayoutVars>
          <dgm:chMax val="0"/>
          <dgm:bulletEnabled val="1"/>
        </dgm:presLayoutVars>
      </dgm:prSet>
      <dgm:spPr/>
    </dgm:pt>
    <dgm:pt modelId="{64C014D5-E48C-43F5-B31A-D1C392CB7F7B}" type="pres">
      <dgm:prSet presAssocID="{B6ECB4C2-1625-4164-9D41-D789FEE99D87}" presName="negativeSpace" presStyleCnt="0"/>
      <dgm:spPr/>
    </dgm:pt>
    <dgm:pt modelId="{05F8AAB0-E281-4DB9-813D-2CDC3340F7B5}" type="pres">
      <dgm:prSet presAssocID="{B6ECB4C2-1625-4164-9D41-D789FEE99D87}" presName="childText" presStyleLbl="conFgAcc1" presStyleIdx="2" presStyleCnt="4">
        <dgm:presLayoutVars>
          <dgm:bulletEnabled val="1"/>
        </dgm:presLayoutVars>
      </dgm:prSet>
      <dgm:spPr/>
    </dgm:pt>
    <dgm:pt modelId="{AE9946C7-BD19-412A-A3E2-9D4402924C7A}" type="pres">
      <dgm:prSet presAssocID="{54812AE3-F07A-4858-8ABE-0DEA2C39D01A}" presName="spaceBetweenRectangles" presStyleCnt="0"/>
      <dgm:spPr/>
    </dgm:pt>
    <dgm:pt modelId="{87A2EDB5-1FAE-434B-B178-A59E5FBE03D6}" type="pres">
      <dgm:prSet presAssocID="{E99FBAB9-BF43-40CF-9883-2F7A718F7CBD}" presName="parentLin" presStyleCnt="0"/>
      <dgm:spPr/>
    </dgm:pt>
    <dgm:pt modelId="{5254E300-A3C7-4167-8DC8-E7565B5A52A3}" type="pres">
      <dgm:prSet presAssocID="{E99FBAB9-BF43-40CF-9883-2F7A718F7CBD}" presName="parentLeftMargin" presStyleLbl="node1" presStyleIdx="2" presStyleCnt="4"/>
      <dgm:spPr/>
    </dgm:pt>
    <dgm:pt modelId="{0BB61A0B-4CDE-4D18-A2A8-449BD95C2EB7}" type="pres">
      <dgm:prSet presAssocID="{E99FBAB9-BF43-40CF-9883-2F7A718F7CBD}" presName="parentText" presStyleLbl="node1" presStyleIdx="3" presStyleCnt="4" custScaleX="132125" custScaleY="109326">
        <dgm:presLayoutVars>
          <dgm:chMax val="0"/>
          <dgm:bulletEnabled val="1"/>
        </dgm:presLayoutVars>
      </dgm:prSet>
      <dgm:spPr>
        <a:prstGeom prst="roundRect">
          <a:avLst/>
        </a:prstGeom>
      </dgm:spPr>
    </dgm:pt>
    <dgm:pt modelId="{787F9B59-2487-4784-A348-FA99505F8D2E}" type="pres">
      <dgm:prSet presAssocID="{E99FBAB9-BF43-40CF-9883-2F7A718F7CBD}" presName="negativeSpace" presStyleCnt="0"/>
      <dgm:spPr/>
    </dgm:pt>
    <dgm:pt modelId="{CC111BEC-A249-4C30-BF45-C32A47CE1799}" type="pres">
      <dgm:prSet presAssocID="{E99FBAB9-BF43-40CF-9883-2F7A718F7CBD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DC55CA0A-3FA2-4EDA-B5DB-70DD1B760005}" type="presOf" srcId="{1F856ACF-B0A5-4C3E-AA8F-186775649BD1}" destId="{BD1D97F1-BE2F-4D39-BF4D-C0FBFF8BD085}" srcOrd="0" destOrd="0" presId="urn:microsoft.com/office/officeart/2005/8/layout/list1"/>
    <dgm:cxn modelId="{7467410D-F8E1-41BD-A9B9-9688A08F6D32}" type="presOf" srcId="{76A5A9C8-23A0-4921-9103-1E0A93CC3A93}" destId="{C6EB17E0-1028-4289-BC92-B5E4A52D2CB1}" srcOrd="0" destOrd="0" presId="urn:microsoft.com/office/officeart/2005/8/layout/list1"/>
    <dgm:cxn modelId="{F8AE3524-AAA7-471A-A2E1-2A08A29AB57C}" type="presOf" srcId="{E99FBAB9-BF43-40CF-9883-2F7A718F7CBD}" destId="{5254E300-A3C7-4167-8DC8-E7565B5A52A3}" srcOrd="0" destOrd="0" presId="urn:microsoft.com/office/officeart/2005/8/layout/list1"/>
    <dgm:cxn modelId="{22F01E65-BD5F-4D1B-BDFC-DAAB05E59F54}" type="presOf" srcId="{A2F1D0AB-4AF4-4C13-8DCC-3EEB6C8475FA}" destId="{2BE2A4C5-D9FB-40B0-8384-7F5B3AF8AFE7}" srcOrd="0" destOrd="0" presId="urn:microsoft.com/office/officeart/2005/8/layout/list1"/>
    <dgm:cxn modelId="{EFC3F174-6A6D-4DCD-8012-3C4ADDA25DCA}" type="presOf" srcId="{B6ECB4C2-1625-4164-9D41-D789FEE99D87}" destId="{452A3147-EFB7-434F-9D87-4A884DE5CF6A}" srcOrd="0" destOrd="0" presId="urn:microsoft.com/office/officeart/2005/8/layout/list1"/>
    <dgm:cxn modelId="{16EE5159-61AA-4E78-8709-F648E5958F36}" srcId="{1F856ACF-B0A5-4C3E-AA8F-186775649BD1}" destId="{B6ECB4C2-1625-4164-9D41-D789FEE99D87}" srcOrd="2" destOrd="0" parTransId="{4523C811-712D-4589-A711-7958124BB378}" sibTransId="{54812AE3-F07A-4858-8ABE-0DEA2C39D01A}"/>
    <dgm:cxn modelId="{8AB7F47A-00B4-42F1-AFEA-D7F077099EE5}" type="presOf" srcId="{E99FBAB9-BF43-40CF-9883-2F7A718F7CBD}" destId="{0BB61A0B-4CDE-4D18-A2A8-449BD95C2EB7}" srcOrd="1" destOrd="0" presId="urn:microsoft.com/office/officeart/2005/8/layout/list1"/>
    <dgm:cxn modelId="{285D5881-AA5E-4D74-967F-7DC153339EFD}" type="presOf" srcId="{B6ECB4C2-1625-4164-9D41-D789FEE99D87}" destId="{7F6854C0-3DD0-4096-B68E-68EF430C2943}" srcOrd="1" destOrd="0" presId="urn:microsoft.com/office/officeart/2005/8/layout/list1"/>
    <dgm:cxn modelId="{82ACA189-F92C-46E5-8D54-3C6EBEA9A282}" type="presOf" srcId="{76A5A9C8-23A0-4921-9103-1E0A93CC3A93}" destId="{98E3656C-8FBA-4C7E-9E9E-FAA9A51BE5AC}" srcOrd="1" destOrd="0" presId="urn:microsoft.com/office/officeart/2005/8/layout/list1"/>
    <dgm:cxn modelId="{31077FA1-2D4F-430D-83FC-322C1E853B79}" srcId="{1F856ACF-B0A5-4C3E-AA8F-186775649BD1}" destId="{A2F1D0AB-4AF4-4C13-8DCC-3EEB6C8475FA}" srcOrd="1" destOrd="0" parTransId="{E477515A-EFC6-4E2C-A84C-DEA45AD90D53}" sibTransId="{569DC839-D1B7-4B05-866E-2FFC66C48264}"/>
    <dgm:cxn modelId="{789236C4-AB2B-4D2B-9B1C-9D9F6BE66D84}" srcId="{1F856ACF-B0A5-4C3E-AA8F-186775649BD1}" destId="{76A5A9C8-23A0-4921-9103-1E0A93CC3A93}" srcOrd="0" destOrd="0" parTransId="{289F6B96-4B63-4C9C-A862-95BD2851A373}" sibTransId="{6F6B0921-FC3A-4287-B6B3-3721256D26B1}"/>
    <dgm:cxn modelId="{C5BFA6CB-F55D-43E6-BD8E-592D5863F913}" srcId="{1F856ACF-B0A5-4C3E-AA8F-186775649BD1}" destId="{E99FBAB9-BF43-40CF-9883-2F7A718F7CBD}" srcOrd="3" destOrd="0" parTransId="{2818080B-D42A-49FE-B8D9-124300D92A66}" sibTransId="{5B8B6596-57DB-4BE9-B518-B76F1F7A2D6F}"/>
    <dgm:cxn modelId="{BB73A6F3-FC3B-4DD1-AE62-6B6CF9F5B86D}" type="presOf" srcId="{A2F1D0AB-4AF4-4C13-8DCC-3EEB6C8475FA}" destId="{55BF9536-80A1-486F-87A9-671728621AC2}" srcOrd="1" destOrd="0" presId="urn:microsoft.com/office/officeart/2005/8/layout/list1"/>
    <dgm:cxn modelId="{E22A7C81-49B0-4B22-9E64-A0039876C496}" type="presParOf" srcId="{BD1D97F1-BE2F-4D39-BF4D-C0FBFF8BD085}" destId="{8D3B6062-22E2-438B-8983-22772BEC7CBA}" srcOrd="0" destOrd="0" presId="urn:microsoft.com/office/officeart/2005/8/layout/list1"/>
    <dgm:cxn modelId="{6C998EC5-CA79-49BB-9A88-0A40E3B58C87}" type="presParOf" srcId="{8D3B6062-22E2-438B-8983-22772BEC7CBA}" destId="{C6EB17E0-1028-4289-BC92-B5E4A52D2CB1}" srcOrd="0" destOrd="0" presId="urn:microsoft.com/office/officeart/2005/8/layout/list1"/>
    <dgm:cxn modelId="{45DF613C-3CDE-40A5-8D77-9350CD22FFED}" type="presParOf" srcId="{8D3B6062-22E2-438B-8983-22772BEC7CBA}" destId="{98E3656C-8FBA-4C7E-9E9E-FAA9A51BE5AC}" srcOrd="1" destOrd="0" presId="urn:microsoft.com/office/officeart/2005/8/layout/list1"/>
    <dgm:cxn modelId="{B927F053-9D3E-4FEE-AFAF-FC0933F27CFC}" type="presParOf" srcId="{BD1D97F1-BE2F-4D39-BF4D-C0FBFF8BD085}" destId="{CEAD17AC-F291-4169-B907-1FFF8F694837}" srcOrd="1" destOrd="0" presId="urn:microsoft.com/office/officeart/2005/8/layout/list1"/>
    <dgm:cxn modelId="{7FDBD311-6876-44DC-B260-DE0B9EEA1155}" type="presParOf" srcId="{BD1D97F1-BE2F-4D39-BF4D-C0FBFF8BD085}" destId="{9655322B-0851-4EFF-BAFC-6066031139AE}" srcOrd="2" destOrd="0" presId="urn:microsoft.com/office/officeart/2005/8/layout/list1"/>
    <dgm:cxn modelId="{DADC293D-B9FD-486E-B43E-8767DDEC35B4}" type="presParOf" srcId="{BD1D97F1-BE2F-4D39-BF4D-C0FBFF8BD085}" destId="{B342593E-1694-43C8-815E-26F534212757}" srcOrd="3" destOrd="0" presId="urn:microsoft.com/office/officeart/2005/8/layout/list1"/>
    <dgm:cxn modelId="{3DE7A6C5-B910-4CF2-9DD8-6F4AB1EF7F81}" type="presParOf" srcId="{BD1D97F1-BE2F-4D39-BF4D-C0FBFF8BD085}" destId="{94520483-C122-49F2-B8FE-65569CF5F92A}" srcOrd="4" destOrd="0" presId="urn:microsoft.com/office/officeart/2005/8/layout/list1"/>
    <dgm:cxn modelId="{0AB905EC-7397-41DA-87D1-27998B032B98}" type="presParOf" srcId="{94520483-C122-49F2-B8FE-65569CF5F92A}" destId="{2BE2A4C5-D9FB-40B0-8384-7F5B3AF8AFE7}" srcOrd="0" destOrd="0" presId="urn:microsoft.com/office/officeart/2005/8/layout/list1"/>
    <dgm:cxn modelId="{3880DD79-267C-4DA3-A7DF-F5B97DCC9DFF}" type="presParOf" srcId="{94520483-C122-49F2-B8FE-65569CF5F92A}" destId="{55BF9536-80A1-486F-87A9-671728621AC2}" srcOrd="1" destOrd="0" presId="urn:microsoft.com/office/officeart/2005/8/layout/list1"/>
    <dgm:cxn modelId="{3F62A44F-AD54-41F5-A9A6-4DF9A86C6CD9}" type="presParOf" srcId="{BD1D97F1-BE2F-4D39-BF4D-C0FBFF8BD085}" destId="{D12290F9-3EDD-4550-AE33-06A5CBA61D66}" srcOrd="5" destOrd="0" presId="urn:microsoft.com/office/officeart/2005/8/layout/list1"/>
    <dgm:cxn modelId="{58473655-BC56-44D8-A2EB-55D813E635A0}" type="presParOf" srcId="{BD1D97F1-BE2F-4D39-BF4D-C0FBFF8BD085}" destId="{D91C913E-4333-4A58-A741-B8037925BAF3}" srcOrd="6" destOrd="0" presId="urn:microsoft.com/office/officeart/2005/8/layout/list1"/>
    <dgm:cxn modelId="{F32E2525-EE13-49BA-AA88-2F230EC64857}" type="presParOf" srcId="{BD1D97F1-BE2F-4D39-BF4D-C0FBFF8BD085}" destId="{B152167F-4D2F-4BDF-B077-71FF8CEF6370}" srcOrd="7" destOrd="0" presId="urn:microsoft.com/office/officeart/2005/8/layout/list1"/>
    <dgm:cxn modelId="{056AD8F0-9426-422B-B56A-865F51F4CA6F}" type="presParOf" srcId="{BD1D97F1-BE2F-4D39-BF4D-C0FBFF8BD085}" destId="{CD9ADFD1-A865-4B65-A624-8E9481043EDE}" srcOrd="8" destOrd="0" presId="urn:microsoft.com/office/officeart/2005/8/layout/list1"/>
    <dgm:cxn modelId="{C46E2D50-08FD-4EAC-983C-298FB44DE624}" type="presParOf" srcId="{CD9ADFD1-A865-4B65-A624-8E9481043EDE}" destId="{452A3147-EFB7-434F-9D87-4A884DE5CF6A}" srcOrd="0" destOrd="0" presId="urn:microsoft.com/office/officeart/2005/8/layout/list1"/>
    <dgm:cxn modelId="{D6372F6B-AF8A-4EB7-A9CF-B75CC7069DA7}" type="presParOf" srcId="{CD9ADFD1-A865-4B65-A624-8E9481043EDE}" destId="{7F6854C0-3DD0-4096-B68E-68EF430C2943}" srcOrd="1" destOrd="0" presId="urn:microsoft.com/office/officeart/2005/8/layout/list1"/>
    <dgm:cxn modelId="{B4FF0198-B190-4E7B-A48C-93E7683E19E9}" type="presParOf" srcId="{BD1D97F1-BE2F-4D39-BF4D-C0FBFF8BD085}" destId="{64C014D5-E48C-43F5-B31A-D1C392CB7F7B}" srcOrd="9" destOrd="0" presId="urn:microsoft.com/office/officeart/2005/8/layout/list1"/>
    <dgm:cxn modelId="{563BE16E-1A6B-421C-A409-86EB4B21AA3C}" type="presParOf" srcId="{BD1D97F1-BE2F-4D39-BF4D-C0FBFF8BD085}" destId="{05F8AAB0-E281-4DB9-813D-2CDC3340F7B5}" srcOrd="10" destOrd="0" presId="urn:microsoft.com/office/officeart/2005/8/layout/list1"/>
    <dgm:cxn modelId="{9224C28B-1D9D-489E-808B-6A70A8AAD3C1}" type="presParOf" srcId="{BD1D97F1-BE2F-4D39-BF4D-C0FBFF8BD085}" destId="{AE9946C7-BD19-412A-A3E2-9D4402924C7A}" srcOrd="11" destOrd="0" presId="urn:microsoft.com/office/officeart/2005/8/layout/list1"/>
    <dgm:cxn modelId="{38C3D68F-5BA9-448E-85FD-FF2D1DE08D50}" type="presParOf" srcId="{BD1D97F1-BE2F-4D39-BF4D-C0FBFF8BD085}" destId="{87A2EDB5-1FAE-434B-B178-A59E5FBE03D6}" srcOrd="12" destOrd="0" presId="urn:microsoft.com/office/officeart/2005/8/layout/list1"/>
    <dgm:cxn modelId="{DC579C89-61C7-43ED-B847-1EBFDCEE21D8}" type="presParOf" srcId="{87A2EDB5-1FAE-434B-B178-A59E5FBE03D6}" destId="{5254E300-A3C7-4167-8DC8-E7565B5A52A3}" srcOrd="0" destOrd="0" presId="urn:microsoft.com/office/officeart/2005/8/layout/list1"/>
    <dgm:cxn modelId="{583CD8FF-B868-49A2-8B71-082E655D07DC}" type="presParOf" srcId="{87A2EDB5-1FAE-434B-B178-A59E5FBE03D6}" destId="{0BB61A0B-4CDE-4D18-A2A8-449BD95C2EB7}" srcOrd="1" destOrd="0" presId="urn:microsoft.com/office/officeart/2005/8/layout/list1"/>
    <dgm:cxn modelId="{098B31E8-AD30-45EC-9649-C879F7638183}" type="presParOf" srcId="{BD1D97F1-BE2F-4D39-BF4D-C0FBFF8BD085}" destId="{787F9B59-2487-4784-A348-FA99505F8D2E}" srcOrd="13" destOrd="0" presId="urn:microsoft.com/office/officeart/2005/8/layout/list1"/>
    <dgm:cxn modelId="{F989021B-F3C1-4047-99E3-14454CF6F5E9}" type="presParOf" srcId="{BD1D97F1-BE2F-4D39-BF4D-C0FBFF8BD085}" destId="{CC111BEC-A249-4C30-BF45-C32A47CE1799}" srcOrd="14" destOrd="0" presId="urn:microsoft.com/office/officeart/2005/8/layout/list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FF6749B-942F-43E7-92F4-4CBDF1DC41C3}" type="doc">
      <dgm:prSet loTypeId="urn:microsoft.com/office/officeart/2011/layout/Tab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IE"/>
        </a:p>
      </dgm:t>
    </dgm:pt>
    <dgm:pt modelId="{6DC60C56-1C79-4B48-9A7E-E271A3BBED4E}">
      <dgm:prSet phldrT="[Text]" cust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 spcFirstLastPara="0" vert="horz" wrap="square" lIns="22860" tIns="22860" rIns="22860" bIns="22860" numCol="1" spcCol="1270" anchor="ctr" anchorCtr="0"/>
        <a:lstStyle/>
        <a:p>
          <a:pPr marL="0" lvl="0" indent="0" algn="l" defTabSz="533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200" b="1" kern="1200" dirty="0">
              <a:latin typeface="Arial"/>
              <a:ea typeface="+mn-ea"/>
              <a:cs typeface="+mn-cs"/>
            </a:rPr>
            <a:t>RTE</a:t>
          </a:r>
        </a:p>
      </dgm:t>
    </dgm:pt>
    <dgm:pt modelId="{6D69AD3C-77B9-4F26-B7FD-2E6E3DF12DDF}" type="parTrans" cxnId="{94262BA7-806F-49D1-8A75-1D666F836EEE}">
      <dgm:prSet/>
      <dgm:spPr/>
      <dgm:t>
        <a:bodyPr/>
        <a:lstStyle/>
        <a:p>
          <a:pPr algn="l"/>
          <a:endParaRPr lang="en-IE" sz="1200" b="1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24EFB1D9-07D1-42DD-B109-0CAB5E233EC3}" type="sibTrans" cxnId="{94262BA7-806F-49D1-8A75-1D666F836EEE}">
      <dgm:prSet/>
      <dgm:spPr/>
      <dgm:t>
        <a:bodyPr/>
        <a:lstStyle/>
        <a:p>
          <a:pPr algn="l"/>
          <a:endParaRPr lang="en-IE" sz="1200" b="1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D045C83F-59C3-422A-A4E1-9738F15C4870}">
      <dgm:prSet phldrT="[Text]" custT="1"/>
      <dgm:spPr>
        <a:xfrm>
          <a:off x="0" y="248529"/>
          <a:ext cx="8126613" cy="495167"/>
        </a:xfrm>
      </dgm:spPr>
      <dgm:t>
        <a:bodyPr tIns="91440"/>
        <a:lstStyle/>
        <a:p>
          <a:pPr algn="l">
            <a:spcBef>
              <a:spcPts val="1200"/>
            </a:spcBef>
            <a:buChar char="•"/>
          </a:pPr>
          <a:r>
            <a:rPr lang="en-GB" sz="1200" b="1" dirty="0">
              <a:latin typeface="Arial"/>
              <a:ea typeface="+mn-ea"/>
              <a:cs typeface="+mn-cs"/>
            </a:rPr>
            <a:t>RTE Radio 1, RTE 2FM, RTE Lyric FM and Raidio na Gaeltachta</a:t>
          </a:r>
          <a:endParaRPr lang="en-IE" sz="1200" b="1" dirty="0">
            <a:latin typeface="Arial"/>
            <a:ea typeface="+mn-ea"/>
            <a:cs typeface="+mn-cs"/>
          </a:endParaRPr>
        </a:p>
      </dgm:t>
    </dgm:pt>
    <dgm:pt modelId="{7163A47E-DF8E-4C06-972F-5529741C8C5B}" type="parTrans" cxnId="{DF765C31-A9FD-419C-BC90-C2929393B953}">
      <dgm:prSet/>
      <dgm:spPr/>
      <dgm:t>
        <a:bodyPr/>
        <a:lstStyle/>
        <a:p>
          <a:pPr algn="l"/>
          <a:endParaRPr lang="en-IE" sz="1200" b="1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8A9DC874-D32F-4F19-AD67-7B88695AF490}" type="sibTrans" cxnId="{DF765C31-A9FD-419C-BC90-C2929393B953}">
      <dgm:prSet/>
      <dgm:spPr/>
      <dgm:t>
        <a:bodyPr/>
        <a:lstStyle/>
        <a:p>
          <a:pPr algn="l"/>
          <a:endParaRPr lang="en-IE" sz="1200" b="1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3DFB8AD5-94E7-4D6A-9A40-D35B72E750BE}">
      <dgm:prSet custT="1"/>
      <dgm:spPr/>
      <dgm:t>
        <a:bodyPr spcFirstLastPara="0" vert="horz" wrap="square" lIns="22860" tIns="91440" rIns="22860" bIns="22860" numCol="1" spcCol="1270" anchor="t" anchorCtr="0"/>
        <a:lstStyle/>
        <a:p>
          <a:pPr algn="l">
            <a:buChar char="•"/>
          </a:pPr>
          <a:r>
            <a:rPr lang="en-GB" sz="1200" b="1" kern="1200" dirty="0">
              <a:latin typeface="Arial"/>
              <a:ea typeface="+mn-ea"/>
              <a:cs typeface="+mn-cs"/>
            </a:rPr>
            <a:t>KFM, KCLR, Midlands Radio 3, South East Radio, East Coast Radio, Tipp FM, Clare FM, Radio Kerry, MWR, Shannonside, Northern Sound, Ocean FM, Highland Radio, Sunshine 106.8 and Radio Nova</a:t>
          </a:r>
        </a:p>
      </dgm:t>
    </dgm:pt>
    <dgm:pt modelId="{B891C5D5-8767-462C-8960-F3ACA48EB197}" type="parTrans" cxnId="{30CBD042-2F3A-45A1-B3AB-20B4C8D28D7D}">
      <dgm:prSet/>
      <dgm:spPr/>
      <dgm:t>
        <a:bodyPr/>
        <a:lstStyle/>
        <a:p>
          <a:pPr algn="l"/>
          <a:endParaRPr lang="en-IE" sz="1200" b="1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53DAB4C5-289E-49C3-A62F-B36976841979}" type="sibTrans" cxnId="{30CBD042-2F3A-45A1-B3AB-20B4C8D28D7D}">
      <dgm:prSet/>
      <dgm:spPr/>
      <dgm:t>
        <a:bodyPr/>
        <a:lstStyle/>
        <a:p>
          <a:pPr algn="l"/>
          <a:endParaRPr lang="en-IE" sz="1200" b="1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71A6A3F5-7E42-458B-BBDE-84BEB10FA830}">
      <dgm:prSet cust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 spcFirstLastPara="0" vert="horz" wrap="square" lIns="22860" tIns="22860" rIns="22860" bIns="22860" numCol="1" spcCol="1270" anchor="ctr" anchorCtr="0"/>
        <a:lstStyle/>
        <a:p>
          <a:pPr marL="0" lvl="0" indent="0" algn="ctr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latin typeface="Arial"/>
              <a:ea typeface="+mn-ea"/>
              <a:cs typeface="+mn-cs"/>
            </a:rPr>
            <a:t>Media Central Group</a:t>
          </a:r>
        </a:p>
      </dgm:t>
    </dgm:pt>
    <dgm:pt modelId="{27A6F09D-FB36-4867-9D2B-1A206A3EAFA9}" type="parTrans" cxnId="{A29CC151-8877-4177-AEA3-ED2B95EC49F4}">
      <dgm:prSet/>
      <dgm:spPr/>
      <dgm:t>
        <a:bodyPr/>
        <a:lstStyle/>
        <a:p>
          <a:pPr algn="l"/>
          <a:endParaRPr lang="en-IE" sz="1200" b="1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C562C311-6131-41A4-8BD9-C2F298DCF5B8}" type="sibTrans" cxnId="{A29CC151-8877-4177-AEA3-ED2B95EC49F4}">
      <dgm:prSet/>
      <dgm:spPr/>
      <dgm:t>
        <a:bodyPr/>
        <a:lstStyle/>
        <a:p>
          <a:pPr algn="l"/>
          <a:endParaRPr lang="en-IE" sz="1200" b="1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2FF5F8C3-2C49-4AE3-9B72-988D7FA12B63}">
      <dgm:prSet custT="1"/>
      <dgm:spPr/>
      <dgm:t>
        <a:bodyPr spcFirstLastPara="0" vert="horz" wrap="square" lIns="22860" tIns="91440" rIns="22860" bIns="22860" numCol="1" spcCol="1270" anchor="t" anchorCtr="0"/>
        <a:lstStyle/>
        <a:p>
          <a:pPr algn="l">
            <a:buChar char="•"/>
          </a:pPr>
          <a:r>
            <a:rPr lang="en-GB" sz="1200" b="1" dirty="0">
              <a:latin typeface="Arial"/>
              <a:ea typeface="+mn-ea"/>
              <a:cs typeface="+mn-cs"/>
            </a:rPr>
            <a:t>Today FM, Newstalk, 98FM, Spin 1038, Spin South-West, iRadio North-West, iRadio North-East, Beat 102-103, Classic Hits Radio and Red FM.</a:t>
          </a:r>
        </a:p>
      </dgm:t>
    </dgm:pt>
    <dgm:pt modelId="{41285494-F3E3-4697-85D2-ECA0D1215564}" type="parTrans" cxnId="{3E1BDC2B-5583-444C-B050-EE75C82477D7}">
      <dgm:prSet/>
      <dgm:spPr/>
      <dgm:t>
        <a:bodyPr/>
        <a:lstStyle/>
        <a:p>
          <a:pPr algn="l"/>
          <a:endParaRPr lang="en-IE" sz="1200" b="1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69B4712D-2752-43F5-969B-6790A41A4CDA}" type="sibTrans" cxnId="{3E1BDC2B-5583-444C-B050-EE75C82477D7}">
      <dgm:prSet/>
      <dgm:spPr/>
      <dgm:t>
        <a:bodyPr/>
        <a:lstStyle/>
        <a:p>
          <a:pPr algn="l"/>
          <a:endParaRPr lang="en-IE" sz="1200" b="1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2ADE9BC5-064E-4A58-8672-EDCFD378D566}">
      <dgm:prSet cust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 spcFirstLastPara="0" vert="horz" wrap="square" lIns="22860" tIns="22860" rIns="22860" bIns="22860" numCol="1" spcCol="1270" anchor="ctr" anchorCtr="0"/>
        <a:lstStyle/>
        <a:p>
          <a:pPr marL="0" lvl="0" indent="0" algn="l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latin typeface="Arial"/>
              <a:ea typeface="+mn-ea"/>
              <a:cs typeface="+mn-cs"/>
            </a:rPr>
            <a:t>Onic Urban</a:t>
          </a:r>
        </a:p>
      </dgm:t>
    </dgm:pt>
    <dgm:pt modelId="{A94C680A-42FA-47FA-9910-DCD31699A9DD}" type="parTrans" cxnId="{74773410-11FE-419D-A28D-49D47DF7045E}">
      <dgm:prSet/>
      <dgm:spPr/>
      <dgm:t>
        <a:bodyPr/>
        <a:lstStyle/>
        <a:p>
          <a:pPr algn="l"/>
          <a:endParaRPr lang="en-US" sz="1200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7D8D03F6-6A4C-40DB-A35F-2D0966B42B5C}" type="sibTrans" cxnId="{74773410-11FE-419D-A28D-49D47DF7045E}">
      <dgm:prSet/>
      <dgm:spPr/>
      <dgm:t>
        <a:bodyPr/>
        <a:lstStyle/>
        <a:p>
          <a:pPr algn="l"/>
          <a:endParaRPr lang="en-US" sz="1200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1CE3BED7-D4F6-49FF-B454-0DDACE773574}">
      <dgm:prSet cust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 spcFirstLastPara="0" vert="horz" wrap="square" lIns="22860" tIns="22860" rIns="22860" bIns="22860" numCol="1" spcCol="1270" anchor="ctr" anchorCtr="0"/>
        <a:lstStyle/>
        <a:p>
          <a:pPr marL="0" lvl="0" indent="0" algn="l" defTabSz="533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latin typeface="Arial"/>
              <a:ea typeface="+mn-ea"/>
              <a:cs typeface="+mn-cs"/>
            </a:rPr>
            <a:t>IRS +</a:t>
          </a:r>
        </a:p>
      </dgm:t>
    </dgm:pt>
    <dgm:pt modelId="{6C3A1EF4-ED8F-4AAF-8D41-9CE9868BFA8E}" type="sibTrans" cxnId="{2397FEAF-8C7C-4A90-BE5C-8A6B587918DE}">
      <dgm:prSet/>
      <dgm:spPr/>
      <dgm:t>
        <a:bodyPr/>
        <a:lstStyle/>
        <a:p>
          <a:pPr algn="l"/>
          <a:endParaRPr lang="en-IE" sz="1200" b="1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D8CE49A7-0BDD-4405-8D54-9BE670271077}" type="parTrans" cxnId="{2397FEAF-8C7C-4A90-BE5C-8A6B587918DE}">
      <dgm:prSet/>
      <dgm:spPr/>
      <dgm:t>
        <a:bodyPr/>
        <a:lstStyle/>
        <a:p>
          <a:pPr algn="l"/>
          <a:endParaRPr lang="en-IE" sz="1200" b="1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602079C1-7D1B-4EF9-8FB6-2C02E4E6E2B4}">
      <dgm:prSet custT="1"/>
      <dgm:spPr/>
      <dgm:t>
        <a:bodyPr spcFirstLastPara="0" vert="horz" wrap="square" lIns="22860" tIns="91440" rIns="22860" bIns="22860" numCol="1" spcCol="1270" anchor="t" anchorCtr="0"/>
        <a:lstStyle/>
        <a:p>
          <a:pPr algn="l">
            <a:buFont typeface="Wingdings" panose="05000000000000000000" pitchFamily="2" charset="2"/>
            <a:buChar char="§"/>
          </a:pPr>
          <a:r>
            <a:rPr lang="en-IE" sz="1200" b="1" dirty="0">
              <a:latin typeface="Arial"/>
              <a:ea typeface="+mn-ea"/>
              <a:cs typeface="+mn-cs"/>
            </a:rPr>
            <a:t>FM104, Q102, Cork’s 96FM, C103, LMFM, Live 95FM, Galway Bay FM and WLR FM</a:t>
          </a:r>
          <a:endParaRPr lang="en-GB" sz="1200" b="0" dirty="0">
            <a:latin typeface="Arial"/>
            <a:ea typeface="+mn-ea"/>
            <a:cs typeface="+mn-cs"/>
          </a:endParaRPr>
        </a:p>
      </dgm:t>
    </dgm:pt>
    <dgm:pt modelId="{15CCFFEB-3DE8-4835-9087-5F73FEF56F83}" type="parTrans" cxnId="{6C2EE4B4-CF1B-4FF1-A670-BCFB31E34977}">
      <dgm:prSet/>
      <dgm:spPr/>
      <dgm:t>
        <a:bodyPr/>
        <a:lstStyle/>
        <a:p>
          <a:endParaRPr lang="en-US" sz="1200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31EFCAFC-FD0C-421C-905F-058BB8AB1262}" type="sibTrans" cxnId="{6C2EE4B4-CF1B-4FF1-A670-BCFB31E34977}">
      <dgm:prSet/>
      <dgm:spPr/>
      <dgm:t>
        <a:bodyPr/>
        <a:lstStyle/>
        <a:p>
          <a:endParaRPr lang="en-US" sz="1200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55F12E3C-9BB1-4773-8F42-3489774C8672}">
      <dgm:prSet phldrT="[Text]" custT="1"/>
      <dgm:spPr>
        <a:xfrm>
          <a:off x="2112919" y="982"/>
          <a:ext cx="6013693" cy="247546"/>
        </a:xfrm>
      </dgm:spPr>
      <dgm:t>
        <a:bodyPr/>
        <a:lstStyle/>
        <a:p>
          <a:pPr algn="l">
            <a:buNone/>
          </a:pPr>
          <a:endParaRPr lang="en-IE" sz="1200" b="1" dirty="0">
            <a:solidFill>
              <a:srgbClr val="5F5F5F">
                <a:lumMod val="65000"/>
                <a:lumOff val="35000"/>
              </a:srgbClr>
            </a:solidFill>
            <a:latin typeface="Arial"/>
            <a:ea typeface="+mn-ea"/>
            <a:cs typeface="+mn-cs"/>
          </a:endParaRPr>
        </a:p>
      </dgm:t>
    </dgm:pt>
    <dgm:pt modelId="{A29AA787-2835-4DB1-9C5B-F44675F8382D}" type="parTrans" cxnId="{012D73F3-5A3F-4795-BE55-03541989642A}">
      <dgm:prSet/>
      <dgm:spPr/>
      <dgm:t>
        <a:bodyPr/>
        <a:lstStyle/>
        <a:p>
          <a:endParaRPr lang="en-US" sz="1200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A2C63741-A0AA-48C9-A232-2A48B6C12911}" type="sibTrans" cxnId="{012D73F3-5A3F-4795-BE55-03541989642A}">
      <dgm:prSet/>
      <dgm:spPr/>
      <dgm:t>
        <a:bodyPr/>
        <a:lstStyle/>
        <a:p>
          <a:endParaRPr lang="en-US" sz="1200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B8CEFC9C-0183-4051-AC26-37856E296D6E}">
      <dgm:prSet custT="1"/>
      <dgm:spPr>
        <a:xfrm>
          <a:off x="2112919" y="756073"/>
          <a:ext cx="6013693" cy="247546"/>
        </a:xfrm>
      </dgm:spPr>
      <dgm:t>
        <a:bodyPr/>
        <a:lstStyle/>
        <a:p>
          <a:pPr algn="l">
            <a:buNone/>
          </a:pPr>
          <a:endParaRPr lang="en-GB" sz="1200" b="1" dirty="0">
            <a:solidFill>
              <a:srgbClr val="5F5F5F">
                <a:lumMod val="65000"/>
                <a:lumOff val="35000"/>
              </a:srgbClr>
            </a:solidFill>
            <a:latin typeface="Arial"/>
            <a:ea typeface="+mn-ea"/>
            <a:cs typeface="+mn-cs"/>
          </a:endParaRPr>
        </a:p>
      </dgm:t>
    </dgm:pt>
    <dgm:pt modelId="{43EB0A4F-CD67-41F3-B7D6-EAB3BABBACEF}" type="parTrans" cxnId="{56E92C5A-8A21-4C59-B103-60ED49AD0671}">
      <dgm:prSet/>
      <dgm:spPr/>
      <dgm:t>
        <a:bodyPr/>
        <a:lstStyle/>
        <a:p>
          <a:endParaRPr lang="en-US" sz="1200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57B999E4-197D-443D-9D3C-567B505B97BC}" type="sibTrans" cxnId="{56E92C5A-8A21-4C59-B103-60ED49AD0671}">
      <dgm:prSet/>
      <dgm:spPr/>
      <dgm:t>
        <a:bodyPr/>
        <a:lstStyle/>
        <a:p>
          <a:endParaRPr lang="en-US" sz="1200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8B98D948-B99C-47DC-A52C-63B9E9C710C4}">
      <dgm:prSet custT="1"/>
      <dgm:spPr>
        <a:xfrm>
          <a:off x="2112919" y="1511164"/>
          <a:ext cx="6013693" cy="247546"/>
        </a:xfrm>
      </dgm:spPr>
      <dgm:t>
        <a:bodyPr/>
        <a:lstStyle/>
        <a:p>
          <a:pPr algn="l">
            <a:buNone/>
          </a:pPr>
          <a:endParaRPr lang="en-GB" sz="1200" b="1" dirty="0">
            <a:solidFill>
              <a:srgbClr val="5F5F5F">
                <a:lumMod val="65000"/>
                <a:lumOff val="35000"/>
              </a:srgbClr>
            </a:solidFill>
            <a:latin typeface="Arial"/>
            <a:ea typeface="+mn-ea"/>
            <a:cs typeface="+mn-cs"/>
          </a:endParaRPr>
        </a:p>
      </dgm:t>
    </dgm:pt>
    <dgm:pt modelId="{50684D31-74C7-4607-85EA-D4D7DFEAA993}" type="parTrans" cxnId="{FD7ED721-532E-45E9-AFFA-3102E7ABC23D}">
      <dgm:prSet/>
      <dgm:spPr/>
      <dgm:t>
        <a:bodyPr/>
        <a:lstStyle/>
        <a:p>
          <a:endParaRPr lang="en-US" sz="1200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0CB70112-15A5-4C2F-9652-2EF6D03ABD47}" type="sibTrans" cxnId="{FD7ED721-532E-45E9-AFFA-3102E7ABC23D}">
      <dgm:prSet/>
      <dgm:spPr/>
      <dgm:t>
        <a:bodyPr/>
        <a:lstStyle/>
        <a:p>
          <a:endParaRPr lang="en-US" sz="1200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F941B473-61F4-42DC-91CC-A6BB1B5FD713}">
      <dgm:prSet custT="1"/>
      <dgm:spPr>
        <a:xfrm>
          <a:off x="2112919" y="2266255"/>
          <a:ext cx="6013693" cy="247546"/>
        </a:xfrm>
      </dgm:spPr>
      <dgm:t>
        <a:bodyPr/>
        <a:lstStyle/>
        <a:p>
          <a:pPr algn="l">
            <a:buFont typeface="Wingdings" panose="05000000000000000000" pitchFamily="2" charset="2"/>
            <a:buNone/>
          </a:pPr>
          <a:endParaRPr lang="en-GB" sz="1200" b="0" dirty="0">
            <a:solidFill>
              <a:srgbClr val="5F5F5F">
                <a:lumMod val="65000"/>
                <a:lumOff val="35000"/>
              </a:srgbClr>
            </a:solidFill>
            <a:latin typeface="Arial"/>
            <a:ea typeface="+mn-ea"/>
            <a:cs typeface="+mn-cs"/>
          </a:endParaRPr>
        </a:p>
      </dgm:t>
    </dgm:pt>
    <dgm:pt modelId="{9EA638E6-FE64-4CBB-86A6-680E2FA83150}" type="parTrans" cxnId="{BC9CA2DD-7EBB-4971-8E46-0839763EF79D}">
      <dgm:prSet/>
      <dgm:spPr/>
      <dgm:t>
        <a:bodyPr/>
        <a:lstStyle/>
        <a:p>
          <a:endParaRPr lang="en-US" sz="1200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31B9270C-EDDB-4344-834B-806F1CED92CF}" type="sibTrans" cxnId="{BC9CA2DD-7EBB-4971-8E46-0839763EF79D}">
      <dgm:prSet/>
      <dgm:spPr/>
      <dgm:t>
        <a:bodyPr/>
        <a:lstStyle/>
        <a:p>
          <a:endParaRPr lang="en-US" sz="1200">
            <a:solidFill>
              <a:schemeClr val="tx1">
                <a:lumMod val="65000"/>
                <a:lumOff val="35000"/>
              </a:schemeClr>
            </a:solidFill>
            <a:latin typeface="+mn-lt"/>
          </a:endParaRPr>
        </a:p>
      </dgm:t>
    </dgm:pt>
    <dgm:pt modelId="{CECB48D5-3950-4F92-BFB0-FFA385D26829}" type="pres">
      <dgm:prSet presAssocID="{5FF6749B-942F-43E7-92F4-4CBDF1DC41C3}" presName="Name0" presStyleCnt="0">
        <dgm:presLayoutVars>
          <dgm:chMax/>
          <dgm:chPref val="3"/>
          <dgm:dir/>
          <dgm:animOne val="branch"/>
          <dgm:animLvl val="lvl"/>
        </dgm:presLayoutVars>
      </dgm:prSet>
      <dgm:spPr/>
    </dgm:pt>
    <dgm:pt modelId="{191F4BF4-CAAF-4693-9118-4FE994A65AEF}" type="pres">
      <dgm:prSet presAssocID="{6DC60C56-1C79-4B48-9A7E-E271A3BBED4E}" presName="composite" presStyleCnt="0"/>
      <dgm:spPr/>
    </dgm:pt>
    <dgm:pt modelId="{B4CE262A-E027-4282-813B-84398D89CE72}" type="pres">
      <dgm:prSet presAssocID="{6DC60C56-1C79-4B48-9A7E-E271A3BBED4E}" presName="FirstChild" presStyleLbl="revTx" presStyleIdx="0" presStyleCnt="8">
        <dgm:presLayoutVars>
          <dgm:chMax val="0"/>
          <dgm:chPref val="0"/>
          <dgm:bulletEnabled val="1"/>
        </dgm:presLayoutVars>
      </dgm:prSet>
      <dgm:spPr/>
    </dgm:pt>
    <dgm:pt modelId="{93F2F709-3655-44DD-BA29-CB1A4A7A7CD7}" type="pres">
      <dgm:prSet presAssocID="{6DC60C56-1C79-4B48-9A7E-E271A3BBED4E}" presName="Parent" presStyleLbl="alignNode1" presStyleIdx="0" presStyleCnt="4">
        <dgm:presLayoutVars>
          <dgm:chMax val="3"/>
          <dgm:chPref val="3"/>
          <dgm:bulletEnabled val="1"/>
        </dgm:presLayoutVars>
      </dgm:prSet>
      <dgm:spPr/>
    </dgm:pt>
    <dgm:pt modelId="{FCA4EF98-A023-459D-B514-876C2715EC84}" type="pres">
      <dgm:prSet presAssocID="{6DC60C56-1C79-4B48-9A7E-E271A3BBED4E}" presName="Accent" presStyleLbl="parChTrans1D1" presStyleIdx="0" presStyleCnt="4"/>
      <dgm:spPr/>
    </dgm:pt>
    <dgm:pt modelId="{FFD768DC-B0DF-40EF-9076-7F03F9CEA6C8}" type="pres">
      <dgm:prSet presAssocID="{6DC60C56-1C79-4B48-9A7E-E271A3BBED4E}" presName="Child" presStyleLbl="revTx" presStyleIdx="1" presStyleCnt="8">
        <dgm:presLayoutVars>
          <dgm:chMax val="0"/>
          <dgm:chPref val="0"/>
          <dgm:bulletEnabled val="1"/>
        </dgm:presLayoutVars>
      </dgm:prSet>
      <dgm:spPr/>
    </dgm:pt>
    <dgm:pt modelId="{DB8A93E7-1B16-4B60-AE20-42D8F9E37CDE}" type="pres">
      <dgm:prSet presAssocID="{24EFB1D9-07D1-42DD-B109-0CAB5E233EC3}" presName="sibTrans" presStyleCnt="0"/>
      <dgm:spPr/>
    </dgm:pt>
    <dgm:pt modelId="{E80BCA4E-9517-4E9D-BE3A-50E87858BB2E}" type="pres">
      <dgm:prSet presAssocID="{1CE3BED7-D4F6-49FF-B454-0DDACE773574}" presName="composite" presStyleCnt="0"/>
      <dgm:spPr/>
    </dgm:pt>
    <dgm:pt modelId="{AE745C7C-BE45-4768-A864-0B0E6C9833D3}" type="pres">
      <dgm:prSet presAssocID="{1CE3BED7-D4F6-49FF-B454-0DDACE773574}" presName="FirstChild" presStyleLbl="revTx" presStyleIdx="2" presStyleCnt="8">
        <dgm:presLayoutVars>
          <dgm:chMax val="0"/>
          <dgm:chPref val="0"/>
          <dgm:bulletEnabled val="1"/>
        </dgm:presLayoutVars>
      </dgm:prSet>
      <dgm:spPr/>
    </dgm:pt>
    <dgm:pt modelId="{12F4D09E-09FC-42FC-804A-56A2D5AFE9CB}" type="pres">
      <dgm:prSet presAssocID="{1CE3BED7-D4F6-49FF-B454-0DDACE773574}" presName="Parent" presStyleLbl="alignNode1" presStyleIdx="1" presStyleCnt="4">
        <dgm:presLayoutVars>
          <dgm:chMax val="3"/>
          <dgm:chPref val="3"/>
          <dgm:bulletEnabled val="1"/>
        </dgm:presLayoutVars>
      </dgm:prSet>
      <dgm:spPr/>
    </dgm:pt>
    <dgm:pt modelId="{487EB6E4-E8DB-455D-BBDD-1FB0422433B9}" type="pres">
      <dgm:prSet presAssocID="{1CE3BED7-D4F6-49FF-B454-0DDACE773574}" presName="Accent" presStyleLbl="parChTrans1D1" presStyleIdx="1" presStyleCnt="4"/>
      <dgm:spPr/>
    </dgm:pt>
    <dgm:pt modelId="{79ABFB80-B1C5-44F2-ABC4-011C610449FE}" type="pres">
      <dgm:prSet presAssocID="{1CE3BED7-D4F6-49FF-B454-0DDACE773574}" presName="Child" presStyleLbl="revTx" presStyleIdx="3" presStyleCnt="8">
        <dgm:presLayoutVars>
          <dgm:chMax val="0"/>
          <dgm:chPref val="0"/>
          <dgm:bulletEnabled val="1"/>
        </dgm:presLayoutVars>
      </dgm:prSet>
      <dgm:spPr/>
    </dgm:pt>
    <dgm:pt modelId="{5DA86E42-0048-4FA2-9636-9795D40F7FAA}" type="pres">
      <dgm:prSet presAssocID="{6C3A1EF4-ED8F-4AAF-8D41-9CE9868BFA8E}" presName="sibTrans" presStyleCnt="0"/>
      <dgm:spPr/>
    </dgm:pt>
    <dgm:pt modelId="{3A980E8A-661B-4EBC-A318-E2EEC4D3E0F3}" type="pres">
      <dgm:prSet presAssocID="{71A6A3F5-7E42-458B-BBDE-84BEB10FA830}" presName="composite" presStyleCnt="0"/>
      <dgm:spPr/>
    </dgm:pt>
    <dgm:pt modelId="{A16FA16A-1B60-482F-9AC3-13C66477C595}" type="pres">
      <dgm:prSet presAssocID="{71A6A3F5-7E42-458B-BBDE-84BEB10FA830}" presName="FirstChild" presStyleLbl="revTx" presStyleIdx="4" presStyleCnt="8">
        <dgm:presLayoutVars>
          <dgm:chMax val="0"/>
          <dgm:chPref val="0"/>
          <dgm:bulletEnabled val="1"/>
        </dgm:presLayoutVars>
      </dgm:prSet>
      <dgm:spPr/>
    </dgm:pt>
    <dgm:pt modelId="{6F3884FD-2A03-4582-9EDA-7BD7FD6D70EC}" type="pres">
      <dgm:prSet presAssocID="{71A6A3F5-7E42-458B-BBDE-84BEB10FA830}" presName="Parent" presStyleLbl="alignNode1" presStyleIdx="2" presStyleCnt="4">
        <dgm:presLayoutVars>
          <dgm:chMax val="3"/>
          <dgm:chPref val="3"/>
          <dgm:bulletEnabled val="1"/>
        </dgm:presLayoutVars>
      </dgm:prSet>
      <dgm:spPr/>
    </dgm:pt>
    <dgm:pt modelId="{769FAB08-8796-493A-B25D-315335EDB845}" type="pres">
      <dgm:prSet presAssocID="{71A6A3F5-7E42-458B-BBDE-84BEB10FA830}" presName="Accent" presStyleLbl="parChTrans1D1" presStyleIdx="2" presStyleCnt="4"/>
      <dgm:spPr/>
    </dgm:pt>
    <dgm:pt modelId="{E646D552-0E6E-4770-BA4C-794837D836C4}" type="pres">
      <dgm:prSet presAssocID="{71A6A3F5-7E42-458B-BBDE-84BEB10FA830}" presName="Child" presStyleLbl="revTx" presStyleIdx="5" presStyleCnt="8">
        <dgm:presLayoutVars>
          <dgm:chMax val="0"/>
          <dgm:chPref val="0"/>
          <dgm:bulletEnabled val="1"/>
        </dgm:presLayoutVars>
      </dgm:prSet>
      <dgm:spPr/>
    </dgm:pt>
    <dgm:pt modelId="{7006974D-9578-481B-ACD1-07E365FD0B48}" type="pres">
      <dgm:prSet presAssocID="{C562C311-6131-41A4-8BD9-C2F298DCF5B8}" presName="sibTrans" presStyleCnt="0"/>
      <dgm:spPr/>
    </dgm:pt>
    <dgm:pt modelId="{688377D5-2A76-49DD-BAA2-49CE80AB572D}" type="pres">
      <dgm:prSet presAssocID="{2ADE9BC5-064E-4A58-8672-EDCFD378D566}" presName="composite" presStyleCnt="0"/>
      <dgm:spPr/>
    </dgm:pt>
    <dgm:pt modelId="{73964C5E-21DD-40F6-8324-69EE84FDCDB8}" type="pres">
      <dgm:prSet presAssocID="{2ADE9BC5-064E-4A58-8672-EDCFD378D566}" presName="FirstChild" presStyleLbl="revTx" presStyleIdx="6" presStyleCnt="8">
        <dgm:presLayoutVars>
          <dgm:chMax val="0"/>
          <dgm:chPref val="0"/>
          <dgm:bulletEnabled val="1"/>
        </dgm:presLayoutVars>
      </dgm:prSet>
      <dgm:spPr/>
    </dgm:pt>
    <dgm:pt modelId="{1546EBFF-61D3-4CFE-AB9C-48DA80A8338E}" type="pres">
      <dgm:prSet presAssocID="{2ADE9BC5-064E-4A58-8672-EDCFD378D566}" presName="Parent" presStyleLbl="alignNode1" presStyleIdx="3" presStyleCnt="4">
        <dgm:presLayoutVars>
          <dgm:chMax val="3"/>
          <dgm:chPref val="3"/>
          <dgm:bulletEnabled val="1"/>
        </dgm:presLayoutVars>
      </dgm:prSet>
      <dgm:spPr/>
    </dgm:pt>
    <dgm:pt modelId="{0CF43A41-BDCF-4195-9FA7-129DE6281AD3}" type="pres">
      <dgm:prSet presAssocID="{2ADE9BC5-064E-4A58-8672-EDCFD378D566}" presName="Accent" presStyleLbl="parChTrans1D1" presStyleIdx="3" presStyleCnt="4"/>
      <dgm:spPr/>
    </dgm:pt>
    <dgm:pt modelId="{503AE20E-5319-48EF-9D15-B1C5A2BA51B1}" type="pres">
      <dgm:prSet presAssocID="{2ADE9BC5-064E-4A58-8672-EDCFD378D566}" presName="Child" presStyleLbl="revTx" presStyleIdx="7" presStyleCnt="8">
        <dgm:presLayoutVars>
          <dgm:chMax val="0"/>
          <dgm:chPref val="0"/>
          <dgm:bulletEnabled val="1"/>
        </dgm:presLayoutVars>
      </dgm:prSet>
      <dgm:spPr/>
    </dgm:pt>
  </dgm:ptLst>
  <dgm:cxnLst>
    <dgm:cxn modelId="{2D88A007-855A-4783-B61C-E959FB67DBDE}" type="presOf" srcId="{D045C83F-59C3-422A-A4E1-9738F15C4870}" destId="{FFD768DC-B0DF-40EF-9076-7F03F9CEA6C8}" srcOrd="0" destOrd="0" presId="urn:microsoft.com/office/officeart/2011/layout/TabList"/>
    <dgm:cxn modelId="{FD29C30F-F0A2-4D1E-AB29-FBEF5CEC8AEF}" type="presOf" srcId="{3DFB8AD5-94E7-4D6A-9A40-D35B72E750BE}" destId="{79ABFB80-B1C5-44F2-ABC4-011C610449FE}" srcOrd="0" destOrd="0" presId="urn:microsoft.com/office/officeart/2011/layout/TabList"/>
    <dgm:cxn modelId="{74773410-11FE-419D-A28D-49D47DF7045E}" srcId="{5FF6749B-942F-43E7-92F4-4CBDF1DC41C3}" destId="{2ADE9BC5-064E-4A58-8672-EDCFD378D566}" srcOrd="3" destOrd="0" parTransId="{A94C680A-42FA-47FA-9910-DCD31699A9DD}" sibTransId="{7D8D03F6-6A4C-40DB-A35F-2D0966B42B5C}"/>
    <dgm:cxn modelId="{FD7ED721-532E-45E9-AFFA-3102E7ABC23D}" srcId="{71A6A3F5-7E42-458B-BBDE-84BEB10FA830}" destId="{8B98D948-B99C-47DC-A52C-63B9E9C710C4}" srcOrd="0" destOrd="0" parTransId="{50684D31-74C7-4607-85EA-D4D7DFEAA993}" sibTransId="{0CB70112-15A5-4C2F-9652-2EF6D03ABD47}"/>
    <dgm:cxn modelId="{FEA8F82A-8396-485D-981A-8B55742FD3D6}" type="presOf" srcId="{71A6A3F5-7E42-458B-BBDE-84BEB10FA830}" destId="{6F3884FD-2A03-4582-9EDA-7BD7FD6D70EC}" srcOrd="0" destOrd="0" presId="urn:microsoft.com/office/officeart/2011/layout/TabList"/>
    <dgm:cxn modelId="{3E1BDC2B-5583-444C-B050-EE75C82477D7}" srcId="{71A6A3F5-7E42-458B-BBDE-84BEB10FA830}" destId="{2FF5F8C3-2C49-4AE3-9B72-988D7FA12B63}" srcOrd="1" destOrd="0" parTransId="{41285494-F3E3-4697-85D2-ECA0D1215564}" sibTransId="{69B4712D-2752-43F5-969B-6790A41A4CDA}"/>
    <dgm:cxn modelId="{DF765C31-A9FD-419C-BC90-C2929393B953}" srcId="{6DC60C56-1C79-4B48-9A7E-E271A3BBED4E}" destId="{D045C83F-59C3-422A-A4E1-9738F15C4870}" srcOrd="1" destOrd="0" parTransId="{7163A47E-DF8E-4C06-972F-5529741C8C5B}" sibTransId="{8A9DC874-D32F-4F19-AD67-7B88695AF490}"/>
    <dgm:cxn modelId="{B67AB734-FB36-4663-9850-B1D19432E252}" type="presOf" srcId="{2FF5F8C3-2C49-4AE3-9B72-988D7FA12B63}" destId="{E646D552-0E6E-4770-BA4C-794837D836C4}" srcOrd="0" destOrd="0" presId="urn:microsoft.com/office/officeart/2011/layout/TabList"/>
    <dgm:cxn modelId="{7A886C5C-ECA5-4C03-B545-0E4D53E2B6FB}" type="presOf" srcId="{6DC60C56-1C79-4B48-9A7E-E271A3BBED4E}" destId="{93F2F709-3655-44DD-BA29-CB1A4A7A7CD7}" srcOrd="0" destOrd="0" presId="urn:microsoft.com/office/officeart/2011/layout/TabList"/>
    <dgm:cxn modelId="{30CBD042-2F3A-45A1-B3AB-20B4C8D28D7D}" srcId="{1CE3BED7-D4F6-49FF-B454-0DDACE773574}" destId="{3DFB8AD5-94E7-4D6A-9A40-D35B72E750BE}" srcOrd="1" destOrd="0" parTransId="{B891C5D5-8767-462C-8960-F3ACA48EB197}" sibTransId="{53DAB4C5-289E-49C3-A62F-B36976841979}"/>
    <dgm:cxn modelId="{A29CC151-8877-4177-AEA3-ED2B95EC49F4}" srcId="{5FF6749B-942F-43E7-92F4-4CBDF1DC41C3}" destId="{71A6A3F5-7E42-458B-BBDE-84BEB10FA830}" srcOrd="2" destOrd="0" parTransId="{27A6F09D-FB36-4867-9D2B-1A206A3EAFA9}" sibTransId="{C562C311-6131-41A4-8BD9-C2F298DCF5B8}"/>
    <dgm:cxn modelId="{D4ADB957-CCC0-4E6C-BD50-FDC2DA756ACB}" type="presOf" srcId="{602079C1-7D1B-4EF9-8FB6-2C02E4E6E2B4}" destId="{503AE20E-5319-48EF-9D15-B1C5A2BA51B1}" srcOrd="0" destOrd="0" presId="urn:microsoft.com/office/officeart/2011/layout/TabList"/>
    <dgm:cxn modelId="{35E1EA58-BEB6-46FE-9A9F-A14223974960}" type="presOf" srcId="{5FF6749B-942F-43E7-92F4-4CBDF1DC41C3}" destId="{CECB48D5-3950-4F92-BFB0-FFA385D26829}" srcOrd="0" destOrd="0" presId="urn:microsoft.com/office/officeart/2011/layout/TabList"/>
    <dgm:cxn modelId="{56E92C5A-8A21-4C59-B103-60ED49AD0671}" srcId="{1CE3BED7-D4F6-49FF-B454-0DDACE773574}" destId="{B8CEFC9C-0183-4051-AC26-37856E296D6E}" srcOrd="0" destOrd="0" parTransId="{43EB0A4F-CD67-41F3-B7D6-EAB3BABBACEF}" sibTransId="{57B999E4-197D-443D-9D3C-567B505B97BC}"/>
    <dgm:cxn modelId="{FC650D9F-FC2A-40D5-A570-890E076C2D35}" type="presOf" srcId="{2ADE9BC5-064E-4A58-8672-EDCFD378D566}" destId="{1546EBFF-61D3-4CFE-AB9C-48DA80A8338E}" srcOrd="0" destOrd="0" presId="urn:microsoft.com/office/officeart/2011/layout/TabList"/>
    <dgm:cxn modelId="{6438B2A6-AE9C-40CB-B062-72D1B0C7ECD1}" type="presOf" srcId="{F941B473-61F4-42DC-91CC-A6BB1B5FD713}" destId="{73964C5E-21DD-40F6-8324-69EE84FDCDB8}" srcOrd="0" destOrd="0" presId="urn:microsoft.com/office/officeart/2011/layout/TabList"/>
    <dgm:cxn modelId="{94262BA7-806F-49D1-8A75-1D666F836EEE}" srcId="{5FF6749B-942F-43E7-92F4-4CBDF1DC41C3}" destId="{6DC60C56-1C79-4B48-9A7E-E271A3BBED4E}" srcOrd="0" destOrd="0" parTransId="{6D69AD3C-77B9-4F26-B7FD-2E6E3DF12DDF}" sibTransId="{24EFB1D9-07D1-42DD-B109-0CAB5E233EC3}"/>
    <dgm:cxn modelId="{84543AAB-770F-4CAF-AA61-760404DDF2AB}" type="presOf" srcId="{B8CEFC9C-0183-4051-AC26-37856E296D6E}" destId="{AE745C7C-BE45-4768-A864-0B0E6C9833D3}" srcOrd="0" destOrd="0" presId="urn:microsoft.com/office/officeart/2011/layout/TabList"/>
    <dgm:cxn modelId="{2397FEAF-8C7C-4A90-BE5C-8A6B587918DE}" srcId="{5FF6749B-942F-43E7-92F4-4CBDF1DC41C3}" destId="{1CE3BED7-D4F6-49FF-B454-0DDACE773574}" srcOrd="1" destOrd="0" parTransId="{D8CE49A7-0BDD-4405-8D54-9BE670271077}" sibTransId="{6C3A1EF4-ED8F-4AAF-8D41-9CE9868BFA8E}"/>
    <dgm:cxn modelId="{6C2EE4B4-CF1B-4FF1-A670-BCFB31E34977}" srcId="{2ADE9BC5-064E-4A58-8672-EDCFD378D566}" destId="{602079C1-7D1B-4EF9-8FB6-2C02E4E6E2B4}" srcOrd="1" destOrd="0" parTransId="{15CCFFEB-3DE8-4835-9087-5F73FEF56F83}" sibTransId="{31EFCAFC-FD0C-421C-905F-058BB8AB1262}"/>
    <dgm:cxn modelId="{BC9CA2DD-7EBB-4971-8E46-0839763EF79D}" srcId="{2ADE9BC5-064E-4A58-8672-EDCFD378D566}" destId="{F941B473-61F4-42DC-91CC-A6BB1B5FD713}" srcOrd="0" destOrd="0" parTransId="{9EA638E6-FE64-4CBB-86A6-680E2FA83150}" sibTransId="{31B9270C-EDDB-4344-834B-806F1CED92CF}"/>
    <dgm:cxn modelId="{F75F9DEF-9594-43C1-8EB2-07647C939E86}" type="presOf" srcId="{8B98D948-B99C-47DC-A52C-63B9E9C710C4}" destId="{A16FA16A-1B60-482F-9AC3-13C66477C595}" srcOrd="0" destOrd="0" presId="urn:microsoft.com/office/officeart/2011/layout/TabList"/>
    <dgm:cxn modelId="{096FCBEF-7FFF-465D-A55E-1C22F1025FBD}" type="presOf" srcId="{55F12E3C-9BB1-4773-8F42-3489774C8672}" destId="{B4CE262A-E027-4282-813B-84398D89CE72}" srcOrd="0" destOrd="0" presId="urn:microsoft.com/office/officeart/2011/layout/TabList"/>
    <dgm:cxn modelId="{012D73F3-5A3F-4795-BE55-03541989642A}" srcId="{6DC60C56-1C79-4B48-9A7E-E271A3BBED4E}" destId="{55F12E3C-9BB1-4773-8F42-3489774C8672}" srcOrd="0" destOrd="0" parTransId="{A29AA787-2835-4DB1-9C5B-F44675F8382D}" sibTransId="{A2C63741-A0AA-48C9-A232-2A48B6C12911}"/>
    <dgm:cxn modelId="{32829DF9-E913-41F3-A3D2-223662CC88FB}" type="presOf" srcId="{1CE3BED7-D4F6-49FF-B454-0DDACE773574}" destId="{12F4D09E-09FC-42FC-804A-56A2D5AFE9CB}" srcOrd="0" destOrd="0" presId="urn:microsoft.com/office/officeart/2011/layout/TabList"/>
    <dgm:cxn modelId="{64721F60-7446-4B43-8CE8-DEF08113D484}" type="presParOf" srcId="{CECB48D5-3950-4F92-BFB0-FFA385D26829}" destId="{191F4BF4-CAAF-4693-9118-4FE994A65AEF}" srcOrd="0" destOrd="0" presId="urn:microsoft.com/office/officeart/2011/layout/TabList"/>
    <dgm:cxn modelId="{8F7ADD72-39EA-4F09-BD2D-42A193CDE170}" type="presParOf" srcId="{191F4BF4-CAAF-4693-9118-4FE994A65AEF}" destId="{B4CE262A-E027-4282-813B-84398D89CE72}" srcOrd="0" destOrd="0" presId="urn:microsoft.com/office/officeart/2011/layout/TabList"/>
    <dgm:cxn modelId="{9BAF989A-3658-4606-837A-EE6E2B5A38E1}" type="presParOf" srcId="{191F4BF4-CAAF-4693-9118-4FE994A65AEF}" destId="{93F2F709-3655-44DD-BA29-CB1A4A7A7CD7}" srcOrd="1" destOrd="0" presId="urn:microsoft.com/office/officeart/2011/layout/TabList"/>
    <dgm:cxn modelId="{3D7D7F60-9E75-4B99-BD38-F105D1492916}" type="presParOf" srcId="{191F4BF4-CAAF-4693-9118-4FE994A65AEF}" destId="{FCA4EF98-A023-459D-B514-876C2715EC84}" srcOrd="2" destOrd="0" presId="urn:microsoft.com/office/officeart/2011/layout/TabList"/>
    <dgm:cxn modelId="{2D162AD0-EF2B-4750-A894-57C15973FBF8}" type="presParOf" srcId="{CECB48D5-3950-4F92-BFB0-FFA385D26829}" destId="{FFD768DC-B0DF-40EF-9076-7F03F9CEA6C8}" srcOrd="1" destOrd="0" presId="urn:microsoft.com/office/officeart/2011/layout/TabList"/>
    <dgm:cxn modelId="{F68707C9-C09B-4629-81FD-716369AE9B61}" type="presParOf" srcId="{CECB48D5-3950-4F92-BFB0-FFA385D26829}" destId="{DB8A93E7-1B16-4B60-AE20-42D8F9E37CDE}" srcOrd="2" destOrd="0" presId="urn:microsoft.com/office/officeart/2011/layout/TabList"/>
    <dgm:cxn modelId="{9D1BDFF3-993D-4BE5-AF34-C72EE02B9350}" type="presParOf" srcId="{CECB48D5-3950-4F92-BFB0-FFA385D26829}" destId="{E80BCA4E-9517-4E9D-BE3A-50E87858BB2E}" srcOrd="3" destOrd="0" presId="urn:microsoft.com/office/officeart/2011/layout/TabList"/>
    <dgm:cxn modelId="{851D46F7-8865-4D5C-A998-3870E02962E8}" type="presParOf" srcId="{E80BCA4E-9517-4E9D-BE3A-50E87858BB2E}" destId="{AE745C7C-BE45-4768-A864-0B0E6C9833D3}" srcOrd="0" destOrd="0" presId="urn:microsoft.com/office/officeart/2011/layout/TabList"/>
    <dgm:cxn modelId="{9786241F-9A71-485F-91D1-03778559B06C}" type="presParOf" srcId="{E80BCA4E-9517-4E9D-BE3A-50E87858BB2E}" destId="{12F4D09E-09FC-42FC-804A-56A2D5AFE9CB}" srcOrd="1" destOrd="0" presId="urn:microsoft.com/office/officeart/2011/layout/TabList"/>
    <dgm:cxn modelId="{57B48CCC-4F66-40CF-A5C4-E9A09A52FAFC}" type="presParOf" srcId="{E80BCA4E-9517-4E9D-BE3A-50E87858BB2E}" destId="{487EB6E4-E8DB-455D-BBDD-1FB0422433B9}" srcOrd="2" destOrd="0" presId="urn:microsoft.com/office/officeart/2011/layout/TabList"/>
    <dgm:cxn modelId="{60855ADA-FD1A-417E-B39D-9243F87CD59A}" type="presParOf" srcId="{CECB48D5-3950-4F92-BFB0-FFA385D26829}" destId="{79ABFB80-B1C5-44F2-ABC4-011C610449FE}" srcOrd="4" destOrd="0" presId="urn:microsoft.com/office/officeart/2011/layout/TabList"/>
    <dgm:cxn modelId="{AAE3D3A6-2BAD-4B95-952D-F5C6576F3153}" type="presParOf" srcId="{CECB48D5-3950-4F92-BFB0-FFA385D26829}" destId="{5DA86E42-0048-4FA2-9636-9795D40F7FAA}" srcOrd="5" destOrd="0" presId="urn:microsoft.com/office/officeart/2011/layout/TabList"/>
    <dgm:cxn modelId="{3715E6B9-6B70-4CF7-A0A2-221DC111D630}" type="presParOf" srcId="{CECB48D5-3950-4F92-BFB0-FFA385D26829}" destId="{3A980E8A-661B-4EBC-A318-E2EEC4D3E0F3}" srcOrd="6" destOrd="0" presId="urn:microsoft.com/office/officeart/2011/layout/TabList"/>
    <dgm:cxn modelId="{382A635E-DEED-4AC9-AE5C-CC3796E3189C}" type="presParOf" srcId="{3A980E8A-661B-4EBC-A318-E2EEC4D3E0F3}" destId="{A16FA16A-1B60-482F-9AC3-13C66477C595}" srcOrd="0" destOrd="0" presId="urn:microsoft.com/office/officeart/2011/layout/TabList"/>
    <dgm:cxn modelId="{37F3E38F-8973-4FAA-ADB3-BDE1F5EFA88C}" type="presParOf" srcId="{3A980E8A-661B-4EBC-A318-E2EEC4D3E0F3}" destId="{6F3884FD-2A03-4582-9EDA-7BD7FD6D70EC}" srcOrd="1" destOrd="0" presId="urn:microsoft.com/office/officeart/2011/layout/TabList"/>
    <dgm:cxn modelId="{4BCB5903-6B16-4CD8-8ADD-EA58162E3556}" type="presParOf" srcId="{3A980E8A-661B-4EBC-A318-E2EEC4D3E0F3}" destId="{769FAB08-8796-493A-B25D-315335EDB845}" srcOrd="2" destOrd="0" presId="urn:microsoft.com/office/officeart/2011/layout/TabList"/>
    <dgm:cxn modelId="{FE99473C-2223-4F54-8D6C-FE9CCA7B39EA}" type="presParOf" srcId="{CECB48D5-3950-4F92-BFB0-FFA385D26829}" destId="{E646D552-0E6E-4770-BA4C-794837D836C4}" srcOrd="7" destOrd="0" presId="urn:microsoft.com/office/officeart/2011/layout/TabList"/>
    <dgm:cxn modelId="{64F23891-05DD-4574-AB3D-F2D985ED7B2B}" type="presParOf" srcId="{CECB48D5-3950-4F92-BFB0-FFA385D26829}" destId="{7006974D-9578-481B-ACD1-07E365FD0B48}" srcOrd="8" destOrd="0" presId="urn:microsoft.com/office/officeart/2011/layout/TabList"/>
    <dgm:cxn modelId="{595CF73B-A961-4DA6-B79F-690C2A26C7A0}" type="presParOf" srcId="{CECB48D5-3950-4F92-BFB0-FFA385D26829}" destId="{688377D5-2A76-49DD-BAA2-49CE80AB572D}" srcOrd="9" destOrd="0" presId="urn:microsoft.com/office/officeart/2011/layout/TabList"/>
    <dgm:cxn modelId="{31AF0C06-AA23-4892-A4D7-9BF009062979}" type="presParOf" srcId="{688377D5-2A76-49DD-BAA2-49CE80AB572D}" destId="{73964C5E-21DD-40F6-8324-69EE84FDCDB8}" srcOrd="0" destOrd="0" presId="urn:microsoft.com/office/officeart/2011/layout/TabList"/>
    <dgm:cxn modelId="{EBD9CB87-28C6-4B81-B0AA-CCD25B1FC44D}" type="presParOf" srcId="{688377D5-2A76-49DD-BAA2-49CE80AB572D}" destId="{1546EBFF-61D3-4CFE-AB9C-48DA80A8338E}" srcOrd="1" destOrd="0" presId="urn:microsoft.com/office/officeart/2011/layout/TabList"/>
    <dgm:cxn modelId="{2497574E-3C46-4F3E-B1C5-F22B237F6ECA}" type="presParOf" srcId="{688377D5-2A76-49DD-BAA2-49CE80AB572D}" destId="{0CF43A41-BDCF-4195-9FA7-129DE6281AD3}" srcOrd="2" destOrd="0" presId="urn:microsoft.com/office/officeart/2011/layout/TabList"/>
    <dgm:cxn modelId="{9569F69E-FCAA-40A1-8756-F004FF0777E6}" type="presParOf" srcId="{CECB48D5-3950-4F92-BFB0-FFA385D26829}" destId="{503AE20E-5319-48EF-9D15-B1C5A2BA51B1}" srcOrd="10" destOrd="0" presId="urn:microsoft.com/office/officeart/2011/layout/Tab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55322B-0851-4EFF-BAFC-6066031139AE}">
      <dsp:nvSpPr>
        <dsp:cNvPr id="0" name=""/>
        <dsp:cNvSpPr/>
      </dsp:nvSpPr>
      <dsp:spPr>
        <a:xfrm>
          <a:off x="0" y="793853"/>
          <a:ext cx="8646971" cy="30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E3656C-8FBA-4C7E-9E9E-FAA9A51BE5AC}">
      <dsp:nvSpPr>
        <dsp:cNvPr id="0" name=""/>
        <dsp:cNvSpPr/>
      </dsp:nvSpPr>
      <dsp:spPr>
        <a:xfrm>
          <a:off x="431926" y="126911"/>
          <a:ext cx="8005158" cy="84406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784" tIns="0" rIns="228784" bIns="0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tabLst>
              <a:tab pos="3657600" algn="r"/>
            </a:tabLst>
          </a:pPr>
          <a:r>
            <a:rPr lang="en-IE" sz="1400" b="1" kern="1200" dirty="0"/>
            <a:t>The following charts outline Weekly Reach and 7am-7pm (PT) share for the 2025-3 JNLR Report.  </a:t>
          </a:r>
        </a:p>
      </dsp:txBody>
      <dsp:txXfrm>
        <a:off x="473130" y="168115"/>
        <a:ext cx="7922750" cy="761653"/>
      </dsp:txXfrm>
    </dsp:sp>
    <dsp:sp modelId="{D91C913E-4333-4A58-A741-B8037925BAF3}">
      <dsp:nvSpPr>
        <dsp:cNvPr id="0" name=""/>
        <dsp:cNvSpPr/>
      </dsp:nvSpPr>
      <dsp:spPr>
        <a:xfrm>
          <a:off x="0" y="1490368"/>
          <a:ext cx="8646971" cy="30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BF9536-80A1-486F-87A9-671728621AC2}">
      <dsp:nvSpPr>
        <dsp:cNvPr id="0" name=""/>
        <dsp:cNvSpPr/>
      </dsp:nvSpPr>
      <dsp:spPr>
        <a:xfrm>
          <a:off x="448297" y="1161053"/>
          <a:ext cx="8005175" cy="5064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0256" tIns="0" rIns="220256" bIns="0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tabLst>
              <a:tab pos="3657600" algn="r"/>
            </a:tabLst>
          </a:pPr>
          <a:r>
            <a:rPr lang="en-GB" sz="1400" b="1" kern="1200" dirty="0"/>
            <a:t>This report is </a:t>
          </a:r>
          <a:r>
            <a:rPr lang="en-GB" sz="1400" b="1" kern="1200" dirty="0">
              <a:latin typeface="Arial"/>
              <a:ea typeface="+mn-ea"/>
              <a:cs typeface="+mn-cs"/>
            </a:rPr>
            <a:t>based</a:t>
          </a:r>
          <a:r>
            <a:rPr lang="en-GB" sz="1400" b="1" kern="1200" dirty="0"/>
            <a:t> on the 12-month period October 2024 to September 2025. </a:t>
          </a:r>
          <a:r>
            <a:rPr lang="en-IE" sz="1400" b="1" kern="1200" dirty="0">
              <a:solidFill>
                <a:prstClr val="white"/>
              </a:solidFill>
              <a:latin typeface="Arial"/>
              <a:ea typeface="+mn-ea"/>
              <a:cs typeface="+mn-cs"/>
            </a:rPr>
            <a:t>Reach data is compared, year on year, to the 2024-3 report.</a:t>
          </a:r>
        </a:p>
      </dsp:txBody>
      <dsp:txXfrm>
        <a:off x="473019" y="1185775"/>
        <a:ext cx="7955731" cy="456991"/>
      </dsp:txXfrm>
    </dsp:sp>
    <dsp:sp modelId="{05F8AAB0-E281-4DB9-813D-2CDC3340F7B5}">
      <dsp:nvSpPr>
        <dsp:cNvPr id="0" name=""/>
        <dsp:cNvSpPr/>
      </dsp:nvSpPr>
      <dsp:spPr>
        <a:xfrm>
          <a:off x="0" y="2705010"/>
          <a:ext cx="8646971" cy="30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F6854C0-3DD0-4096-B68E-68EF430C2943}">
      <dsp:nvSpPr>
        <dsp:cNvPr id="0" name=""/>
        <dsp:cNvSpPr/>
      </dsp:nvSpPr>
      <dsp:spPr>
        <a:xfrm>
          <a:off x="453190" y="1857568"/>
          <a:ext cx="7987864" cy="102456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784" tIns="0" rIns="228784" bIns="0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tabLst>
              <a:tab pos="3657600" algn="r"/>
            </a:tabLst>
          </a:pPr>
          <a:r>
            <a:rPr lang="en-IE" sz="1400" b="1" u="none" kern="1200" dirty="0"/>
            <a:t>Definitions: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tabLst>
              <a:tab pos="3657600" algn="r"/>
            </a:tabLst>
          </a:pPr>
          <a:r>
            <a:rPr lang="en-IE" sz="1400" b="1" kern="1200" dirty="0">
              <a:solidFill>
                <a:prstClr val="white"/>
              </a:solidFill>
              <a:latin typeface="Arial"/>
              <a:ea typeface="+mn-ea"/>
              <a:cs typeface="+mn-cs"/>
            </a:rPr>
            <a:t>In this report, the definition of ‘RTE’ has been updated to include Raidio na Gaeltachta.  The data for the comparison period comprises RTE R1, RTE 2FM and RTE Lyric FM.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tabLst>
              <a:tab pos="3657600" algn="r"/>
            </a:tabLst>
          </a:pPr>
          <a:r>
            <a:rPr lang="en-IE" sz="1400" b="1" u="sng" kern="1200" dirty="0"/>
            <a:t>Universe estimates and sample size </a:t>
          </a:r>
          <a:r>
            <a:rPr lang="en-IE" sz="1400" b="0" i="1" kern="1200" dirty="0"/>
            <a:t>– refer to 2025-3 data.</a:t>
          </a:r>
        </a:p>
      </dsp:txBody>
      <dsp:txXfrm>
        <a:off x="503205" y="1907583"/>
        <a:ext cx="7887834" cy="924531"/>
      </dsp:txXfrm>
    </dsp:sp>
    <dsp:sp modelId="{CC111BEC-A249-4C30-BF45-C32A47CE1799}">
      <dsp:nvSpPr>
        <dsp:cNvPr id="0" name=""/>
        <dsp:cNvSpPr/>
      </dsp:nvSpPr>
      <dsp:spPr>
        <a:xfrm>
          <a:off x="0" y="3282366"/>
          <a:ext cx="8646971" cy="30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B61A0B-4CDE-4D18-A2A8-449BD95C2EB7}">
      <dsp:nvSpPr>
        <dsp:cNvPr id="0" name=""/>
        <dsp:cNvSpPr/>
      </dsp:nvSpPr>
      <dsp:spPr>
        <a:xfrm>
          <a:off x="432348" y="3072210"/>
          <a:ext cx="7997367" cy="38727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784" tIns="0" rIns="228784" bIns="0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See Appendix for Sales house composition</a:t>
          </a:r>
        </a:p>
      </dsp:txBody>
      <dsp:txXfrm>
        <a:off x="451253" y="3091115"/>
        <a:ext cx="7959557" cy="34946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F43A41-BDCF-4195-9FA7-129DE6281AD3}">
      <dsp:nvSpPr>
        <dsp:cNvPr id="0" name=""/>
        <dsp:cNvSpPr/>
      </dsp:nvSpPr>
      <dsp:spPr>
        <a:xfrm>
          <a:off x="0" y="3144802"/>
          <a:ext cx="8126613" cy="0"/>
        </a:xfrm>
        <a:prstGeom prst="line">
          <a:avLst/>
        </a:pr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9FAB08-8796-493A-B25D-315335EDB845}">
      <dsp:nvSpPr>
        <dsp:cNvPr id="0" name=""/>
        <dsp:cNvSpPr/>
      </dsp:nvSpPr>
      <dsp:spPr>
        <a:xfrm>
          <a:off x="0" y="2200004"/>
          <a:ext cx="8126613" cy="0"/>
        </a:xfrm>
        <a:prstGeom prst="line">
          <a:avLst/>
        </a:pr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87EB6E4-E8DB-455D-BBDD-1FB0422433B9}">
      <dsp:nvSpPr>
        <dsp:cNvPr id="0" name=""/>
        <dsp:cNvSpPr/>
      </dsp:nvSpPr>
      <dsp:spPr>
        <a:xfrm>
          <a:off x="0" y="1255206"/>
          <a:ext cx="8126613" cy="0"/>
        </a:xfrm>
        <a:prstGeom prst="line">
          <a:avLst/>
        </a:pr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CA4EF98-A023-459D-B514-876C2715EC84}">
      <dsp:nvSpPr>
        <dsp:cNvPr id="0" name=""/>
        <dsp:cNvSpPr/>
      </dsp:nvSpPr>
      <dsp:spPr>
        <a:xfrm>
          <a:off x="0" y="310408"/>
          <a:ext cx="8126613" cy="0"/>
        </a:xfrm>
        <a:prstGeom prst="line">
          <a:avLst/>
        </a:pr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4CE262A-E027-4282-813B-84398D89CE72}">
      <dsp:nvSpPr>
        <dsp:cNvPr id="0" name=""/>
        <dsp:cNvSpPr/>
      </dsp:nvSpPr>
      <dsp:spPr>
        <a:xfrm>
          <a:off x="2112919" y="668"/>
          <a:ext cx="6013693" cy="3097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b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E" sz="1200" b="1" kern="1200" dirty="0">
            <a:solidFill>
              <a:srgbClr val="5F5F5F">
                <a:lumMod val="65000"/>
                <a:lumOff val="35000"/>
              </a:srgbClr>
            </a:solidFill>
            <a:latin typeface="Arial"/>
            <a:ea typeface="+mn-ea"/>
            <a:cs typeface="+mn-cs"/>
          </a:endParaRPr>
        </a:p>
      </dsp:txBody>
      <dsp:txXfrm>
        <a:off x="2112919" y="668"/>
        <a:ext cx="6013693" cy="309739"/>
      </dsp:txXfrm>
    </dsp:sp>
    <dsp:sp modelId="{93F2F709-3655-44DD-BA29-CB1A4A7A7CD7}">
      <dsp:nvSpPr>
        <dsp:cNvPr id="0" name=""/>
        <dsp:cNvSpPr/>
      </dsp:nvSpPr>
      <dsp:spPr>
        <a:xfrm>
          <a:off x="0" y="668"/>
          <a:ext cx="2112919" cy="309739"/>
        </a:xfrm>
        <a:prstGeom prst="round2SameRect">
          <a:avLst>
            <a:gd name="adj1" fmla="val 16670"/>
            <a:gd name="adj2" fmla="val 0"/>
          </a:avLst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l" defTabSz="533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200" b="1" kern="1200" dirty="0">
              <a:latin typeface="Arial"/>
              <a:ea typeface="+mn-ea"/>
              <a:cs typeface="+mn-cs"/>
            </a:rPr>
            <a:t>RTE</a:t>
          </a:r>
        </a:p>
      </dsp:txBody>
      <dsp:txXfrm>
        <a:off x="15123" y="15791"/>
        <a:ext cx="2082673" cy="294616"/>
      </dsp:txXfrm>
    </dsp:sp>
    <dsp:sp modelId="{FFD768DC-B0DF-40EF-9076-7F03F9CEA6C8}">
      <dsp:nvSpPr>
        <dsp:cNvPr id="0" name=""/>
        <dsp:cNvSpPr/>
      </dsp:nvSpPr>
      <dsp:spPr>
        <a:xfrm>
          <a:off x="0" y="310408"/>
          <a:ext cx="8126613" cy="6195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91440" rIns="22860" bIns="228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ts val="1200"/>
            </a:spcBef>
            <a:spcAft>
              <a:spcPct val="15000"/>
            </a:spcAft>
            <a:buChar char="•"/>
          </a:pPr>
          <a:r>
            <a:rPr lang="en-GB" sz="1200" b="1" kern="1200" dirty="0">
              <a:latin typeface="Arial"/>
              <a:ea typeface="+mn-ea"/>
              <a:cs typeface="+mn-cs"/>
            </a:rPr>
            <a:t>RTE Radio 1, RTE 2FM, RTE Lyric FM and Raidio na Gaeltachta</a:t>
          </a:r>
          <a:endParaRPr lang="en-IE" sz="1200" b="1" kern="1200" dirty="0">
            <a:latin typeface="Arial"/>
            <a:ea typeface="+mn-ea"/>
            <a:cs typeface="+mn-cs"/>
          </a:endParaRPr>
        </a:p>
      </dsp:txBody>
      <dsp:txXfrm>
        <a:off x="0" y="310408"/>
        <a:ext cx="8126613" cy="619571"/>
      </dsp:txXfrm>
    </dsp:sp>
    <dsp:sp modelId="{AE745C7C-BE45-4768-A864-0B0E6C9833D3}">
      <dsp:nvSpPr>
        <dsp:cNvPr id="0" name=""/>
        <dsp:cNvSpPr/>
      </dsp:nvSpPr>
      <dsp:spPr>
        <a:xfrm>
          <a:off x="2112919" y="945466"/>
          <a:ext cx="6013693" cy="3097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b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200" b="1" kern="1200" dirty="0">
            <a:solidFill>
              <a:srgbClr val="5F5F5F">
                <a:lumMod val="65000"/>
                <a:lumOff val="35000"/>
              </a:srgbClr>
            </a:solidFill>
            <a:latin typeface="Arial"/>
            <a:ea typeface="+mn-ea"/>
            <a:cs typeface="+mn-cs"/>
          </a:endParaRPr>
        </a:p>
      </dsp:txBody>
      <dsp:txXfrm>
        <a:off x="2112919" y="945466"/>
        <a:ext cx="6013693" cy="309739"/>
      </dsp:txXfrm>
    </dsp:sp>
    <dsp:sp modelId="{12F4D09E-09FC-42FC-804A-56A2D5AFE9CB}">
      <dsp:nvSpPr>
        <dsp:cNvPr id="0" name=""/>
        <dsp:cNvSpPr/>
      </dsp:nvSpPr>
      <dsp:spPr>
        <a:xfrm>
          <a:off x="0" y="945466"/>
          <a:ext cx="2112919" cy="309739"/>
        </a:xfrm>
        <a:prstGeom prst="round2SameRect">
          <a:avLst>
            <a:gd name="adj1" fmla="val 16670"/>
            <a:gd name="adj2" fmla="val 0"/>
          </a:avLst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l" defTabSz="533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latin typeface="Arial"/>
              <a:ea typeface="+mn-ea"/>
              <a:cs typeface="+mn-cs"/>
            </a:rPr>
            <a:t>IRS +</a:t>
          </a:r>
        </a:p>
      </dsp:txBody>
      <dsp:txXfrm>
        <a:off x="15123" y="960589"/>
        <a:ext cx="2082673" cy="294616"/>
      </dsp:txXfrm>
    </dsp:sp>
    <dsp:sp modelId="{79ABFB80-B1C5-44F2-ABC4-011C610449FE}">
      <dsp:nvSpPr>
        <dsp:cNvPr id="0" name=""/>
        <dsp:cNvSpPr/>
      </dsp:nvSpPr>
      <dsp:spPr>
        <a:xfrm>
          <a:off x="0" y="1255206"/>
          <a:ext cx="8126613" cy="6195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91440" rIns="22860" bIns="228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b="1" kern="1200" dirty="0">
              <a:latin typeface="Arial"/>
              <a:ea typeface="+mn-ea"/>
              <a:cs typeface="+mn-cs"/>
            </a:rPr>
            <a:t>KFM, KCLR, Midlands Radio 3, South East Radio, East Coast Radio, Tipp FM, Clare FM, Radio Kerry, MWR, Shannonside, Northern Sound, Ocean FM, Highland Radio, Sunshine 106.8 and Radio Nova</a:t>
          </a:r>
        </a:p>
      </dsp:txBody>
      <dsp:txXfrm>
        <a:off x="0" y="1255206"/>
        <a:ext cx="8126613" cy="619571"/>
      </dsp:txXfrm>
    </dsp:sp>
    <dsp:sp modelId="{A16FA16A-1B60-482F-9AC3-13C66477C595}">
      <dsp:nvSpPr>
        <dsp:cNvPr id="0" name=""/>
        <dsp:cNvSpPr/>
      </dsp:nvSpPr>
      <dsp:spPr>
        <a:xfrm>
          <a:off x="2112919" y="1890264"/>
          <a:ext cx="6013693" cy="3097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b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200" b="1" kern="1200" dirty="0">
            <a:solidFill>
              <a:srgbClr val="5F5F5F">
                <a:lumMod val="65000"/>
                <a:lumOff val="35000"/>
              </a:srgbClr>
            </a:solidFill>
            <a:latin typeface="Arial"/>
            <a:ea typeface="+mn-ea"/>
            <a:cs typeface="+mn-cs"/>
          </a:endParaRPr>
        </a:p>
      </dsp:txBody>
      <dsp:txXfrm>
        <a:off x="2112919" y="1890264"/>
        <a:ext cx="6013693" cy="309739"/>
      </dsp:txXfrm>
    </dsp:sp>
    <dsp:sp modelId="{6F3884FD-2A03-4582-9EDA-7BD7FD6D70EC}">
      <dsp:nvSpPr>
        <dsp:cNvPr id="0" name=""/>
        <dsp:cNvSpPr/>
      </dsp:nvSpPr>
      <dsp:spPr>
        <a:xfrm>
          <a:off x="0" y="1890264"/>
          <a:ext cx="2112919" cy="309739"/>
        </a:xfrm>
        <a:prstGeom prst="round2SameRect">
          <a:avLst>
            <a:gd name="adj1" fmla="val 16670"/>
            <a:gd name="adj2" fmla="val 0"/>
          </a:avLst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latin typeface="Arial"/>
              <a:ea typeface="+mn-ea"/>
              <a:cs typeface="+mn-cs"/>
            </a:rPr>
            <a:t>Media Central Group</a:t>
          </a:r>
        </a:p>
      </dsp:txBody>
      <dsp:txXfrm>
        <a:off x="15123" y="1905387"/>
        <a:ext cx="2082673" cy="294616"/>
      </dsp:txXfrm>
    </dsp:sp>
    <dsp:sp modelId="{E646D552-0E6E-4770-BA4C-794837D836C4}">
      <dsp:nvSpPr>
        <dsp:cNvPr id="0" name=""/>
        <dsp:cNvSpPr/>
      </dsp:nvSpPr>
      <dsp:spPr>
        <a:xfrm>
          <a:off x="0" y="2200004"/>
          <a:ext cx="8126613" cy="6195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91440" rIns="22860" bIns="228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b="1" kern="1200" dirty="0">
              <a:latin typeface="Arial"/>
              <a:ea typeface="+mn-ea"/>
              <a:cs typeface="+mn-cs"/>
            </a:rPr>
            <a:t>Today FM, Newstalk, 98FM, Spin 1038, Spin South-West, iRadio North-West, iRadio North-East, Beat 102-103, Classic Hits Radio and Red FM.</a:t>
          </a:r>
        </a:p>
      </dsp:txBody>
      <dsp:txXfrm>
        <a:off x="0" y="2200004"/>
        <a:ext cx="8126613" cy="619571"/>
      </dsp:txXfrm>
    </dsp:sp>
    <dsp:sp modelId="{73964C5E-21DD-40F6-8324-69EE84FDCDB8}">
      <dsp:nvSpPr>
        <dsp:cNvPr id="0" name=""/>
        <dsp:cNvSpPr/>
      </dsp:nvSpPr>
      <dsp:spPr>
        <a:xfrm>
          <a:off x="2112919" y="2835063"/>
          <a:ext cx="6013693" cy="3097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b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endParaRPr lang="en-GB" sz="1200" b="0" kern="1200" dirty="0">
            <a:solidFill>
              <a:srgbClr val="5F5F5F">
                <a:lumMod val="65000"/>
                <a:lumOff val="35000"/>
              </a:srgbClr>
            </a:solidFill>
            <a:latin typeface="Arial"/>
            <a:ea typeface="+mn-ea"/>
            <a:cs typeface="+mn-cs"/>
          </a:endParaRPr>
        </a:p>
      </dsp:txBody>
      <dsp:txXfrm>
        <a:off x="2112919" y="2835063"/>
        <a:ext cx="6013693" cy="309739"/>
      </dsp:txXfrm>
    </dsp:sp>
    <dsp:sp modelId="{1546EBFF-61D3-4CFE-AB9C-48DA80A8338E}">
      <dsp:nvSpPr>
        <dsp:cNvPr id="0" name=""/>
        <dsp:cNvSpPr/>
      </dsp:nvSpPr>
      <dsp:spPr>
        <a:xfrm>
          <a:off x="0" y="2835063"/>
          <a:ext cx="2112919" cy="309739"/>
        </a:xfrm>
        <a:prstGeom prst="round2SameRect">
          <a:avLst>
            <a:gd name="adj1" fmla="val 16670"/>
            <a:gd name="adj2" fmla="val 0"/>
          </a:avLst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l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latin typeface="Arial"/>
              <a:ea typeface="+mn-ea"/>
              <a:cs typeface="+mn-cs"/>
            </a:rPr>
            <a:t>Onic Urban</a:t>
          </a:r>
        </a:p>
      </dsp:txBody>
      <dsp:txXfrm>
        <a:off x="15123" y="2850186"/>
        <a:ext cx="2082673" cy="294616"/>
      </dsp:txXfrm>
    </dsp:sp>
    <dsp:sp modelId="{503AE20E-5319-48EF-9D15-B1C5A2BA51B1}">
      <dsp:nvSpPr>
        <dsp:cNvPr id="0" name=""/>
        <dsp:cNvSpPr/>
      </dsp:nvSpPr>
      <dsp:spPr>
        <a:xfrm>
          <a:off x="0" y="3144802"/>
          <a:ext cx="8126613" cy="6195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91440" rIns="22860" bIns="228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en-IE" sz="1200" b="1" kern="1200" dirty="0">
              <a:latin typeface="Arial"/>
              <a:ea typeface="+mn-ea"/>
              <a:cs typeface="+mn-cs"/>
            </a:rPr>
            <a:t>FM104, Q102, Cork’s 96FM, C103, LMFM, Live 95FM, Galway Bay FM and WLR FM</a:t>
          </a:r>
          <a:endParaRPr lang="en-GB" sz="1200" b="0" kern="1200" dirty="0">
            <a:latin typeface="Arial"/>
            <a:ea typeface="+mn-ea"/>
            <a:cs typeface="+mn-cs"/>
          </a:endParaRPr>
        </a:p>
      </dsp:txBody>
      <dsp:txXfrm>
        <a:off x="0" y="3144802"/>
        <a:ext cx="8126613" cy="61957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1/layout/TabList">
  <dgm:title val="Tab List"/>
  <dgm:desc val="Use to show non-sequential or grouped blocks of information. Works well for lists with a small amount of Level 1 text. The first Level 2 displays next to the Level 1 text  and the remaining Level 2 text appears beneath the Level 1 text."/>
  <dgm:catLst>
    <dgm:cat type="list" pri="4500"/>
    <dgm:cat type="officeonline" pri="11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0" srcId="0" destId="10" srcOrd="0" destOrd="0"/>
        <dgm:cxn modelId="41" srcId="10" destId="11" srcOrd="0" destOrd="0"/>
        <dgm:cxn modelId="42" srcId="10" destId="12" srcOrd="0" destOrd="0"/>
        <dgm:cxn modelId="50" srcId="0" destId="20" srcOrd="1" destOrd="0"/>
        <dgm:cxn modelId="51" srcId="20" destId="21" srcOrd="1" destOrd="0"/>
        <dgm:cxn modelId="52" srcId="20" destId="22" srcOrd="1" destOrd="0"/>
        <dgm:cxn modelId="60" srcId="0" destId="30" srcOrd="2" destOrd="0"/>
        <dgm:cxn modelId="61" srcId="30" destId="31" srcOrd="2" destOrd="0"/>
        <dgm:cxn modelId="62" srcId="30" destId="32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/>
      <dgm:chPref val="3"/>
      <dgm:dir/>
      <dgm:animOne val="branch"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w" for="ch" forName="Child" refType="w"/>
      <dgm:constr type="h" for="ch" forName="Child" refType="h" fact="0.6667"/>
      <dgm:constr type="primFontSz" for="des" forName="Parent" op="equ" val="65"/>
      <dgm:constr type="primFontSz" for="des" forName="Child" op="equ" val="65"/>
      <dgm:constr type="primFontSz" for="des" forName="FirstChild" op="equ" val="65"/>
      <dgm:constr type="primFontSz" for="des" forName="Child" refType="primFontSz" refFor="des" refForName="Parent" op="lte"/>
      <dgm:constr type="primFontSz" for="des" forName="FirstChild" refType="primFontSz" refFor="des" refForName="Parent" op="lte"/>
      <dgm:constr type="primFontSz" for="des" forName="Child" refType="primFontSz" refFor="des" refForName="FirstChild" op="lte"/>
      <dgm:constr type="w" for="ch" forName="composite" refType="w"/>
      <dgm:constr type="h" for="ch" forName="composite" refType="h" fact="0.3333"/>
      <dgm:constr type="sp" refType="h" refFor="ch" refForName="composite" op="equ" fact="0.05"/>
      <dgm:constr type="h" for="ch" forName="sibTrans" refType="h" refFor="ch" refForName="composite" op="equ" fact="0.05"/>
      <dgm:constr type="w" for="ch" forName="sibTrans" refType="h" refFor="ch" refForName="sibTrans" op="equ"/>
    </dgm:constrLst>
    <dgm:forEach name="nodesForEach" axis="ch" ptType="node">
      <dgm:layoutNode name="composite">
        <dgm:alg type="composite"/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Accent" refType="w" fact="0"/>
              <dgm:constr type="b" for="ch" forName="Accent" refType="h"/>
              <dgm:constr type="w" for="ch" forName="Accent" refType="w"/>
              <dgm:constr type="h" for="ch" forName="Accent" refType="h" fact="0"/>
              <dgm:constr type="l" for="ch" forName="FirstChild" refType="w" fact="0.26"/>
              <dgm:constr type="t" for="ch" forName="FirstChild" refType="h" fact="0"/>
              <dgm:constr type="w" for="ch" forName="FirstChild" refType="w" fact="0.74"/>
              <dgm:constr type="h" for="ch" forName="FirstChild" refType="h"/>
              <dgm:constr type="l" for="ch" forName="Parent" refType="w" fact="0"/>
              <dgm:constr type="t" for="ch" forName="Parent" refType="h" fact="0"/>
              <dgm:constr type="w" for="ch" forName="Parent" refType="w" fact="0.26"/>
              <dgm:constr type="h" for="ch" forName="Parent" refType="h"/>
            </dgm:constrLst>
          </dgm:if>
          <dgm:else name="Name3">
            <dgm:constrLst>
              <dgm:constr type="l" for="ch" forName="Accent" refType="w" fact="0"/>
              <dgm:constr type="b" for="ch" forName="Accent" refType="h"/>
              <dgm:constr type="w" for="ch" forName="Accent" refType="w"/>
              <dgm:constr type="h" for="ch" forName="Accent" refType="h" fact="0"/>
              <dgm:constr type="r" for="ch" forName="FirstChild" refType="w" fact="0.74"/>
              <dgm:constr type="t" for="ch" forName="FirstChild" refType="h" fact="0"/>
              <dgm:constr type="w" for="ch" forName="FirstChild" refType="w" fact="0.74"/>
              <dgm:constr type="h" for="ch" forName="FirstChild" refType="h"/>
              <dgm:constr type="r" for="ch" forName="Parent" refType="w"/>
              <dgm:constr type="t" for="ch" forName="Parent" refType="h" fact="0"/>
              <dgm:constr type="w" for="ch" forName="Parent" refType="w" fact="0.26"/>
              <dgm:constr type="h" for="ch" forName="Parent" refType="h"/>
            </dgm:constrLst>
          </dgm:else>
        </dgm:choose>
        <dgm:layoutNode name="FirstChild" styleLbl="revTx">
          <dgm:varLst>
            <dgm:chMax val="0"/>
            <dgm:chPref val="0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  <dgm:param type="txAnchorVertCh" val="b"/>
                <dgm:param type="parTxRTLAlign" val="l"/>
              </dgm:alg>
            </dgm:if>
            <dgm:else name="Name6">
              <dgm:alg type="tx">
                <dgm:param type="parTxLTRAlign" val="r"/>
                <dgm:param type="shpTxLTRAlignCh" val="r"/>
                <dgm:param type="txAnchorVert" val="b"/>
                <dgm:param type="txAnchorVertCh" val="b"/>
                <dgm:param type="parTxRTLAlign" val="r"/>
              </dgm:alg>
            </dgm:else>
          </dgm:choose>
          <dgm:shape xmlns:r="http://schemas.openxmlformats.org/officeDocument/2006/relationships" type="rect" r:blip="">
            <dgm:adjLst/>
          </dgm:shape>
          <dgm:choose name="Name7">
            <dgm:if name="Name8" axis="ch" ptType="node" func="cnt" op="gte" val="1">
              <dgm:presOf axis="ch desOrSelf" ptType="node node" st="1 1" cnt="1 0"/>
            </dgm:if>
            <dgm:else name="Name9">
              <dgm:presOf/>
            </dgm:else>
          </dgm:choose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  <dgm:layoutNode name="Parent" styleLbl="alignNode1">
          <dgm:varLst>
            <dgm:chMax val="3"/>
            <dgm:chPref val="3"/>
            <dgm:bulletEnabled val="1"/>
          </dgm:varLst>
          <dgm:alg type="tx">
            <dgm:param type="shpTxLTRAlignCh" val="ctr"/>
            <dgm:param type="txAnchorVertCh" val="mid"/>
          </dgm:alg>
          <dgm:shape xmlns:r="http://schemas.openxmlformats.org/officeDocument/2006/relationships" type="round2SameRect" r:blip="">
            <dgm:adjLst>
              <dgm:adj idx="1" val="0.1667"/>
              <dgm:adj idx="2" val="0"/>
            </dgm:adjLst>
          </dgm:shape>
          <dgm:presOf axis="self" ptType="node"/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  <dgm:layoutNode name="Accent" styleLbl="parChTrans1D1">
          <dgm:alg type="sp"/>
          <dgm:shape xmlns:r="http://schemas.openxmlformats.org/officeDocument/2006/relationships" type="line" r:blip="" zOrderOff="-99999">
            <dgm:adjLst/>
          </dgm:shape>
          <dgm:presOf/>
        </dgm:layoutNode>
      </dgm:layoutNode>
      <dgm:choose name="Name10">
        <dgm:if name="Name11" axis="ch" ptType="node" st="2" cnt="1" func="cnt" op="gte" val="1">
          <dgm:layoutNode name="Child" styleLbl="revTx">
            <dgm:varLst>
              <dgm:chMax val="0"/>
              <dgm:chPref val="0"/>
              <dgm:bulletEnabled val="1"/>
            </dgm:varLst>
            <dgm:choose name="Name12">
              <dgm:if name="Name13" func="var" arg="dir" op="equ" val="norm">
                <dgm:alg type="tx">
                  <dgm:param type="stBulletLvl" val="1"/>
                  <dgm:param type="parTxLTRAlign" val="l"/>
                  <dgm:param type="parTxRTLAlign" val="l"/>
                  <dgm:param type="txAnchorVert" val="t"/>
                </dgm:alg>
              </dgm:if>
              <dgm:else name="Name14">
                <dgm:alg type="tx">
                  <dgm:param type="stBulletLvl" val="1"/>
                  <dgm:param type="parTxLTRAlign" val="r"/>
                  <dgm:param type="shpTxLTRAlignCh" val="r"/>
                  <dgm:param type="txAnchorVert" val="t"/>
                  <dgm:param type="parTxRTLAlign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ch desOrSelf" ptType="node node" st="2 1" cnt="0 0"/>
            <dgm:constrLst>
              <dgm:constr type="lMarg" refType="primFontSz" fact="0.15"/>
              <dgm:constr type="rMarg" refType="primFontSz" fact="0.15"/>
              <dgm:constr type="tMarg" refType="primFontSz" fact="0.15"/>
              <dgm:constr type="bMarg" refType="primFontSz" fact="0.15"/>
            </dgm:constrLst>
            <dgm:ruleLst>
              <dgm:rule type="primFontSz" val="5" fact="NaN" max="NaN"/>
            </dgm:ruleLst>
          </dgm:layoutNode>
        </dgm:if>
        <dgm:else name="Name15"/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1141</cdr:y>
    </cdr:from>
    <cdr:to>
      <cdr:x>0.32629</cdr:x>
      <cdr:y>0.2569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140560A-0366-4092-B8F7-DC5DFFD3C9A0}"/>
            </a:ext>
          </a:extLst>
        </cdr:cNvPr>
        <cdr:cNvSpPr txBox="1"/>
      </cdr:nvSpPr>
      <cdr:spPr>
        <a:xfrm xmlns:a="http://schemas.openxmlformats.org/drawingml/2006/main">
          <a:off x="0" y="368826"/>
          <a:ext cx="1479055" cy="461665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5"/>
        </a:solidFill>
        <a:ln xmlns:a="http://schemas.openxmlformats.org/drawingml/2006/main">
          <a:solidFill>
            <a:schemeClr val="bg1">
              <a:lumMod val="75000"/>
            </a:schemeClr>
          </a:solidFill>
        </a:ln>
      </cdr:spPr>
      <cdr:style>
        <a:lnRef xmlns:a="http://schemas.openxmlformats.org/drawingml/2006/main" idx="2">
          <a:schemeClr val="accent6">
            <a:shade val="50000"/>
          </a:schemeClr>
        </a:lnRef>
        <a:fillRef xmlns:a="http://schemas.openxmlformats.org/drawingml/2006/main" idx="1">
          <a:schemeClr val="accent6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wrap="square">
          <a:spAutoFit/>
        </a:bodyPr>
        <a:lstStyle xmlns:a="http://schemas.openxmlformats.org/drawingml/2006/main"/>
        <a:p xmlns:a="http://schemas.openxmlformats.org/drawingml/2006/main"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kumimoji="0" lang="en-IE" sz="1200" b="1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rPr>
            <a:t>SHARE OF </a:t>
          </a:r>
        </a:p>
        <a:p xmlns:a="http://schemas.openxmlformats.org/drawingml/2006/main"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kumimoji="0" lang="en-IE" sz="1200" b="1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rPr>
            <a:t>TIME SPENT</a:t>
          </a: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66234</cdr:x>
      <cdr:y>0.38738</cdr:y>
    </cdr:from>
    <cdr:to>
      <cdr:x>0.86795</cdr:x>
      <cdr:y>0.4526</cdr:y>
    </cdr:to>
    <cdr:sp macro="" textlink="">
      <cdr:nvSpPr>
        <cdr:cNvPr id="2" name="TextBox 33">
          <a:extLst xmlns:a="http://schemas.openxmlformats.org/drawingml/2006/main">
            <a:ext uri="{FF2B5EF4-FFF2-40B4-BE49-F238E27FC236}">
              <a16:creationId xmlns:a16="http://schemas.microsoft.com/office/drawing/2014/main" id="{D0F13F6A-C2C0-485D-9336-48A6F325EC9B}"/>
            </a:ext>
          </a:extLst>
        </cdr:cNvPr>
        <cdr:cNvSpPr txBox="1"/>
      </cdr:nvSpPr>
      <cdr:spPr>
        <a:xfrm xmlns:a="http://schemas.openxmlformats.org/drawingml/2006/main">
          <a:off x="2909242" y="914007"/>
          <a:ext cx="903118" cy="1538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6214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2428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8642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4856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31070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7284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3498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9712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763"/>
          <a:r>
            <a:rPr lang="en-IE" sz="1000" b="1" dirty="0">
              <a:solidFill>
                <a:srgbClr val="7F7F7F"/>
              </a:solidFill>
            </a:rPr>
            <a:t>Cork’s 96FM</a:t>
          </a:r>
          <a:endParaRPr lang="en-IE" sz="1000" dirty="0">
            <a:solidFill>
              <a:srgbClr val="7F7F7F"/>
            </a:solidFill>
          </a:endParaRPr>
        </a:p>
      </cdr:txBody>
    </cdr:sp>
  </cdr:relSizeAnchor>
  <cdr:relSizeAnchor xmlns:cdr="http://schemas.openxmlformats.org/drawingml/2006/chartDrawing">
    <cdr:from>
      <cdr:x>0.60554</cdr:x>
      <cdr:y>0.62518</cdr:y>
    </cdr:from>
    <cdr:to>
      <cdr:x>0.69978</cdr:x>
      <cdr:y>0.6904</cdr:y>
    </cdr:to>
    <cdr:sp macro="" textlink="">
      <cdr:nvSpPr>
        <cdr:cNvPr id="3" name="TextBox 22">
          <a:extLst xmlns:a="http://schemas.openxmlformats.org/drawingml/2006/main">
            <a:ext uri="{FF2B5EF4-FFF2-40B4-BE49-F238E27FC236}">
              <a16:creationId xmlns:a16="http://schemas.microsoft.com/office/drawing/2014/main" id="{C329FBC5-FD2C-2245-168F-7CE45C0F9A83}"/>
            </a:ext>
          </a:extLst>
        </cdr:cNvPr>
        <cdr:cNvSpPr txBox="1"/>
      </cdr:nvSpPr>
      <cdr:spPr>
        <a:xfrm xmlns:a="http://schemas.openxmlformats.org/drawingml/2006/main">
          <a:off x="2659782" y="1475106"/>
          <a:ext cx="413938" cy="1538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6214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2428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8642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4856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31070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7284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3498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9712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763"/>
          <a:r>
            <a:rPr lang="en-IE" sz="1000" b="1" dirty="0">
              <a:solidFill>
                <a:srgbClr val="7F7F7F"/>
              </a:solidFill>
            </a:rPr>
            <a:t>C103</a:t>
          </a:r>
          <a:endParaRPr lang="en-IE" sz="1000" dirty="0">
            <a:solidFill>
              <a:srgbClr val="7F7F7F"/>
            </a:solidFill>
          </a:endParaRPr>
        </a:p>
      </cdr:txBody>
    </cdr:sp>
  </cdr:relSizeAnchor>
  <cdr:relSizeAnchor xmlns:cdr="http://schemas.openxmlformats.org/drawingml/2006/chartDrawing">
    <cdr:from>
      <cdr:x>0.15033</cdr:x>
      <cdr:y>0.46847</cdr:y>
    </cdr:from>
    <cdr:to>
      <cdr:x>0.32687</cdr:x>
      <cdr:y>0.53369</cdr:y>
    </cdr:to>
    <cdr:sp macro="" textlink="">
      <cdr:nvSpPr>
        <cdr:cNvPr id="4" name="TextBox 21">
          <a:extLst xmlns:a="http://schemas.openxmlformats.org/drawingml/2006/main">
            <a:ext uri="{FF2B5EF4-FFF2-40B4-BE49-F238E27FC236}">
              <a16:creationId xmlns:a16="http://schemas.microsoft.com/office/drawing/2014/main" id="{50AA00CF-5DC5-646B-91EF-4EB86E3E5004}"/>
            </a:ext>
          </a:extLst>
        </cdr:cNvPr>
        <cdr:cNvSpPr txBox="1"/>
      </cdr:nvSpPr>
      <cdr:spPr>
        <a:xfrm xmlns:a="http://schemas.openxmlformats.org/drawingml/2006/main">
          <a:off x="660326" y="1105347"/>
          <a:ext cx="775432" cy="15388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6214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2428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8642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4856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31070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7284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3498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9712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763" algn="r"/>
          <a:r>
            <a:rPr lang="en-IE" sz="1000" b="1" dirty="0">
              <a:solidFill>
                <a:srgbClr val="7F7F7F"/>
              </a:solidFill>
            </a:rPr>
            <a:t>National</a:t>
          </a:r>
          <a:r>
            <a:rPr lang="en-IE" sz="1000" dirty="0">
              <a:solidFill>
                <a:srgbClr val="7F7F7F"/>
              </a:solidFill>
            </a:rPr>
            <a:t> </a:t>
          </a:r>
        </a:p>
      </cdr:txBody>
    </cdr:sp>
  </cdr:relSizeAnchor>
  <cdr:relSizeAnchor xmlns:cdr="http://schemas.openxmlformats.org/drawingml/2006/chartDrawing">
    <cdr:from>
      <cdr:x>0.58591</cdr:x>
      <cdr:y>0.18766</cdr:y>
    </cdr:from>
    <cdr:to>
      <cdr:x>0.8386</cdr:x>
      <cdr:y>0.25288</cdr:y>
    </cdr:to>
    <cdr:sp macro="" textlink="">
      <cdr:nvSpPr>
        <cdr:cNvPr id="5" name="Rectangle 4">
          <a:extLst xmlns:a="http://schemas.openxmlformats.org/drawingml/2006/main">
            <a:ext uri="{FF2B5EF4-FFF2-40B4-BE49-F238E27FC236}">
              <a16:creationId xmlns:a16="http://schemas.microsoft.com/office/drawing/2014/main" id="{95D5E0F2-8D57-4A08-A0EB-5D8A4C4A2F0B}"/>
            </a:ext>
          </a:extLst>
        </cdr:cNvPr>
        <cdr:cNvSpPr/>
      </cdr:nvSpPr>
      <cdr:spPr>
        <a:xfrm xmlns:a="http://schemas.openxmlformats.org/drawingml/2006/main">
          <a:off x="2573550" y="442785"/>
          <a:ext cx="1109911" cy="1538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6214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2428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8642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4856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31070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7284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3498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9712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763"/>
          <a:r>
            <a:rPr lang="en-IE" sz="1000" b="1" dirty="0">
              <a:solidFill>
                <a:srgbClr val="7F7F7F"/>
              </a:solidFill>
            </a:rPr>
            <a:t>Cork's RED FM</a:t>
          </a:r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53147</cdr:x>
      <cdr:y>0.71459</cdr:y>
    </cdr:from>
    <cdr:to>
      <cdr:x>0.63825</cdr:x>
      <cdr:y>0.77981</cdr:y>
    </cdr:to>
    <cdr:sp macro="" textlink="">
      <cdr:nvSpPr>
        <cdr:cNvPr id="3" name="TextBox 24">
          <a:extLst xmlns:a="http://schemas.openxmlformats.org/drawingml/2006/main">
            <a:ext uri="{FF2B5EF4-FFF2-40B4-BE49-F238E27FC236}">
              <a16:creationId xmlns:a16="http://schemas.microsoft.com/office/drawing/2014/main" id="{74897941-7875-8FF9-4279-623028D2DFD6}"/>
            </a:ext>
          </a:extLst>
        </cdr:cNvPr>
        <cdr:cNvSpPr txBox="1"/>
      </cdr:nvSpPr>
      <cdr:spPr>
        <a:xfrm xmlns:a="http://schemas.openxmlformats.org/drawingml/2006/main">
          <a:off x="2334404" y="1686068"/>
          <a:ext cx="469019" cy="1538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6214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2428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8642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4856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31070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7284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3498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9712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763" algn="r"/>
          <a:r>
            <a:rPr lang="en-IE" sz="1000" b="1" dirty="0">
              <a:solidFill>
                <a:srgbClr val="7F7F7F"/>
              </a:solidFill>
            </a:rPr>
            <a:t>C103</a:t>
          </a:r>
          <a:endParaRPr lang="en-IE" sz="1000" dirty="0">
            <a:solidFill>
              <a:srgbClr val="7F7F7F"/>
            </a:solidFill>
          </a:endParaRPr>
        </a:p>
      </cdr:txBody>
    </cdr:sp>
  </cdr:relSizeAnchor>
  <cdr:relSizeAnchor xmlns:cdr="http://schemas.openxmlformats.org/drawingml/2006/chartDrawing">
    <cdr:from>
      <cdr:x>0.65461</cdr:x>
      <cdr:y>0.56108</cdr:y>
    </cdr:from>
    <cdr:to>
      <cdr:x>0.86996</cdr:x>
      <cdr:y>0.62631</cdr:y>
    </cdr:to>
    <cdr:sp macro="" textlink="">
      <cdr:nvSpPr>
        <cdr:cNvPr id="4" name="TextBox 30">
          <a:extLst xmlns:a="http://schemas.openxmlformats.org/drawingml/2006/main">
            <a:ext uri="{FF2B5EF4-FFF2-40B4-BE49-F238E27FC236}">
              <a16:creationId xmlns:a16="http://schemas.microsoft.com/office/drawing/2014/main" id="{0E2BC671-F8F9-B404-87EC-BAFA67DC871E}"/>
            </a:ext>
          </a:extLst>
        </cdr:cNvPr>
        <cdr:cNvSpPr txBox="1"/>
      </cdr:nvSpPr>
      <cdr:spPr>
        <a:xfrm xmlns:a="http://schemas.openxmlformats.org/drawingml/2006/main">
          <a:off x="2875301" y="1323864"/>
          <a:ext cx="945900" cy="15390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0" rIns="0" bIns="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763"/>
          <a:r>
            <a:rPr lang="en-IE" sz="1000" b="1" dirty="0">
              <a:solidFill>
                <a:srgbClr val="7F7F7F"/>
              </a:solidFill>
            </a:rPr>
            <a:t>Cork’s 96FM</a:t>
          </a:r>
          <a:endParaRPr lang="en-IE" sz="1000" dirty="0">
            <a:solidFill>
              <a:srgbClr val="7F7F7F"/>
            </a:solidFill>
          </a:endParaRPr>
        </a:p>
      </cdr:txBody>
    </cdr:sp>
  </cdr:relSizeAnchor>
  <cdr:relSizeAnchor xmlns:cdr="http://schemas.openxmlformats.org/drawingml/2006/chartDrawing">
    <cdr:from>
      <cdr:x>0.20144</cdr:x>
      <cdr:y>0.17019</cdr:y>
    </cdr:from>
    <cdr:to>
      <cdr:x>0.37797</cdr:x>
      <cdr:y>0.23541</cdr:y>
    </cdr:to>
    <cdr:sp macro="" textlink="">
      <cdr:nvSpPr>
        <cdr:cNvPr id="5" name="TextBox 23">
          <a:extLst xmlns:a="http://schemas.openxmlformats.org/drawingml/2006/main">
            <a:ext uri="{FF2B5EF4-FFF2-40B4-BE49-F238E27FC236}">
              <a16:creationId xmlns:a16="http://schemas.microsoft.com/office/drawing/2014/main" id="{22F4EBDE-D009-76A0-AE3E-A3081243A089}"/>
            </a:ext>
          </a:extLst>
        </cdr:cNvPr>
        <cdr:cNvSpPr txBox="1"/>
      </cdr:nvSpPr>
      <cdr:spPr>
        <a:xfrm xmlns:a="http://schemas.openxmlformats.org/drawingml/2006/main">
          <a:off x="884792" y="401569"/>
          <a:ext cx="775388" cy="1538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6214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2428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8642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4856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31070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7284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3498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9712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763" algn="r"/>
          <a:r>
            <a:rPr lang="en-IE" sz="1000" b="1" dirty="0">
              <a:solidFill>
                <a:srgbClr val="7F7F7F"/>
              </a:solidFill>
            </a:rPr>
            <a:t>Other</a:t>
          </a:r>
          <a:r>
            <a:rPr lang="en-IE" sz="1000" dirty="0">
              <a:solidFill>
                <a:srgbClr val="7F7F7F"/>
              </a:solidFill>
            </a:rPr>
            <a:t> 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637</cdr:x>
      <cdr:y>0.11278</cdr:y>
    </cdr:from>
    <cdr:to>
      <cdr:x>0.47581</cdr:x>
      <cdr:y>0.21061</cdr:y>
    </cdr:to>
    <cdr:sp macro="" textlink="">
      <cdr:nvSpPr>
        <cdr:cNvPr id="2" name="Rectangle 1">
          <a:extLst xmlns:a="http://schemas.openxmlformats.org/drawingml/2006/main">
            <a:ext uri="{FF2B5EF4-FFF2-40B4-BE49-F238E27FC236}">
              <a16:creationId xmlns:a16="http://schemas.microsoft.com/office/drawing/2014/main" id="{3B95278E-7A39-42B2-B927-C1B1A9C5942C}"/>
            </a:ext>
          </a:extLst>
        </cdr:cNvPr>
        <cdr:cNvSpPr/>
      </cdr:nvSpPr>
      <cdr:spPr>
        <a:xfrm xmlns:a="http://schemas.openxmlformats.org/drawingml/2006/main">
          <a:off x="1597502" y="266097"/>
          <a:ext cx="492443" cy="2308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6214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2428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8642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4856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31070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7284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3498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9712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fld id="{2660D936-4120-4CE9-BAEC-88AB3986C811}" type="CATEGORYNAME">
            <a:rPr lang="en-US" sz="900" b="1" smtClean="0">
              <a:solidFill>
                <a:srgbClr val="7F7F7F"/>
              </a:solidFill>
            </a:rPr>
            <a:pPr/>
            <a:t>Other</a:t>
          </a:fld>
          <a:endParaRPr lang="en-IE" sz="1000" b="1" dirty="0">
            <a:solidFill>
              <a:srgbClr val="7F7F7F"/>
            </a:solidFill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969</cdr:x>
      <cdr:y>0.55108</cdr:y>
    </cdr:from>
    <cdr:to>
      <cdr:x>0.3199</cdr:x>
      <cdr:y>0.60978</cdr:y>
    </cdr:to>
    <cdr:sp macro="" textlink="">
      <cdr:nvSpPr>
        <cdr:cNvPr id="2" name="TextBox 28">
          <a:extLst xmlns:a="http://schemas.openxmlformats.org/drawingml/2006/main">
            <a:ext uri="{FF2B5EF4-FFF2-40B4-BE49-F238E27FC236}">
              <a16:creationId xmlns:a16="http://schemas.microsoft.com/office/drawing/2014/main" id="{7B854C4D-B6ED-0240-34E7-4021B80B2D79}"/>
            </a:ext>
          </a:extLst>
        </cdr:cNvPr>
        <cdr:cNvSpPr txBox="1"/>
      </cdr:nvSpPr>
      <cdr:spPr>
        <a:xfrm xmlns:a="http://schemas.openxmlformats.org/drawingml/2006/main">
          <a:off x="864844" y="1300252"/>
          <a:ext cx="540263" cy="13850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6214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2428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8642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4856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31070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7284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3498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9712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763" algn="r"/>
          <a:r>
            <a:rPr lang="en-IE" sz="900" b="1" dirty="0">
              <a:solidFill>
                <a:srgbClr val="7F7F7F"/>
              </a:solidFill>
            </a:rPr>
            <a:t>National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5034</cdr:x>
      <cdr:y>0.53491</cdr:y>
    </cdr:from>
    <cdr:to>
      <cdr:x>0.32687</cdr:x>
      <cdr:y>0.59361</cdr:y>
    </cdr:to>
    <cdr:sp macro="" textlink="">
      <cdr:nvSpPr>
        <cdr:cNvPr id="2" name="TextBox 34">
          <a:extLst xmlns:a="http://schemas.openxmlformats.org/drawingml/2006/main">
            <a:ext uri="{FF2B5EF4-FFF2-40B4-BE49-F238E27FC236}">
              <a16:creationId xmlns:a16="http://schemas.microsoft.com/office/drawing/2014/main" id="{816CB5FC-BF89-47ED-85E2-FFE18EAE270D}"/>
            </a:ext>
          </a:extLst>
        </cdr:cNvPr>
        <cdr:cNvSpPr txBox="1"/>
      </cdr:nvSpPr>
      <cdr:spPr>
        <a:xfrm xmlns:a="http://schemas.openxmlformats.org/drawingml/2006/main">
          <a:off x="660348" y="1262104"/>
          <a:ext cx="775388" cy="13850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6214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2428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8642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4856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31070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7284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3498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9712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763" algn="r"/>
          <a:r>
            <a:rPr lang="en-IE" sz="900" b="1" dirty="0">
              <a:solidFill>
                <a:srgbClr val="7F7F7F"/>
              </a:solidFill>
            </a:rPr>
            <a:t>National </a:t>
          </a:r>
        </a:p>
      </cdr:txBody>
    </cdr:sp>
  </cdr:relSizeAnchor>
  <cdr:relSizeAnchor xmlns:cdr="http://schemas.openxmlformats.org/drawingml/2006/chartDrawing">
    <cdr:from>
      <cdr:x>0.25199</cdr:x>
      <cdr:y>0.12718</cdr:y>
    </cdr:from>
    <cdr:to>
      <cdr:x>0.42853</cdr:x>
      <cdr:y>0.18587</cdr:y>
    </cdr:to>
    <cdr:sp macro="" textlink="">
      <cdr:nvSpPr>
        <cdr:cNvPr id="3" name="TextBox 33">
          <a:extLst xmlns:a="http://schemas.openxmlformats.org/drawingml/2006/main">
            <a:ext uri="{FF2B5EF4-FFF2-40B4-BE49-F238E27FC236}">
              <a16:creationId xmlns:a16="http://schemas.microsoft.com/office/drawing/2014/main" id="{A04400A9-EA00-41C4-8630-36AD20A1E084}"/>
            </a:ext>
          </a:extLst>
        </cdr:cNvPr>
        <cdr:cNvSpPr txBox="1"/>
      </cdr:nvSpPr>
      <cdr:spPr>
        <a:xfrm xmlns:a="http://schemas.openxmlformats.org/drawingml/2006/main">
          <a:off x="1106856" y="300067"/>
          <a:ext cx="775411" cy="1384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6214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2428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8642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4856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31070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7284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3498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9712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763" algn="r"/>
          <a:r>
            <a:rPr lang="en-IE" sz="900" b="1" dirty="0">
              <a:solidFill>
                <a:srgbClr val="7F7F7F"/>
              </a:solidFill>
            </a:rPr>
            <a:t>Other 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33876</cdr:x>
      <cdr:y>0.14279</cdr:y>
    </cdr:from>
    <cdr:to>
      <cdr:x>0.5153</cdr:x>
      <cdr:y>0.20148</cdr:y>
    </cdr:to>
    <cdr:sp macro="" textlink="">
      <cdr:nvSpPr>
        <cdr:cNvPr id="2" name="TextBox 25">
          <a:extLst xmlns:a="http://schemas.openxmlformats.org/drawingml/2006/main">
            <a:ext uri="{FF2B5EF4-FFF2-40B4-BE49-F238E27FC236}">
              <a16:creationId xmlns:a16="http://schemas.microsoft.com/office/drawing/2014/main" id="{DBF4BDCA-30C3-1158-1DC3-58058FAA2B9A}"/>
            </a:ext>
          </a:extLst>
        </cdr:cNvPr>
        <cdr:cNvSpPr txBox="1"/>
      </cdr:nvSpPr>
      <cdr:spPr>
        <a:xfrm xmlns:a="http://schemas.openxmlformats.org/drawingml/2006/main">
          <a:off x="1487981" y="336899"/>
          <a:ext cx="775411" cy="1384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6214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2428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8642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4856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31070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7284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3498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9712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763"/>
          <a:r>
            <a:rPr lang="en-IE" sz="900" b="1" dirty="0">
              <a:solidFill>
                <a:srgbClr val="7F7F7F"/>
              </a:solidFill>
            </a:rPr>
            <a:t>Other 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8977</cdr:x>
      <cdr:y>0.6325</cdr:y>
    </cdr:from>
    <cdr:to>
      <cdr:x>0.3663</cdr:x>
      <cdr:y>0.6912</cdr:y>
    </cdr:to>
    <cdr:sp macro="" textlink="">
      <cdr:nvSpPr>
        <cdr:cNvPr id="2" name="TextBox 34">
          <a:extLst xmlns:a="http://schemas.openxmlformats.org/drawingml/2006/main">
            <a:ext uri="{FF2B5EF4-FFF2-40B4-BE49-F238E27FC236}">
              <a16:creationId xmlns:a16="http://schemas.microsoft.com/office/drawing/2014/main" id="{816CB5FC-BF89-47ED-85E2-FFE18EAE270D}"/>
            </a:ext>
          </a:extLst>
        </cdr:cNvPr>
        <cdr:cNvSpPr txBox="1"/>
      </cdr:nvSpPr>
      <cdr:spPr>
        <a:xfrm xmlns:a="http://schemas.openxmlformats.org/drawingml/2006/main">
          <a:off x="833560" y="1492375"/>
          <a:ext cx="775388" cy="13850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6214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2428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8642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4856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31070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7284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3498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9712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763" algn="r"/>
          <a:r>
            <a:rPr lang="en-IE" sz="900" b="1" dirty="0">
              <a:solidFill>
                <a:srgbClr val="7F7F7F"/>
              </a:solidFill>
            </a:rPr>
            <a:t>National </a:t>
          </a:r>
        </a:p>
      </cdr:txBody>
    </cdr:sp>
  </cdr:relSizeAnchor>
  <cdr:relSizeAnchor xmlns:cdr="http://schemas.openxmlformats.org/drawingml/2006/chartDrawing">
    <cdr:from>
      <cdr:x>0.27456</cdr:x>
      <cdr:y>0.13425</cdr:y>
    </cdr:from>
    <cdr:to>
      <cdr:x>0.4511</cdr:x>
      <cdr:y>0.19294</cdr:y>
    </cdr:to>
    <cdr:sp macro="" textlink="">
      <cdr:nvSpPr>
        <cdr:cNvPr id="3" name="TextBox 33">
          <a:extLst xmlns:a="http://schemas.openxmlformats.org/drawingml/2006/main">
            <a:ext uri="{FF2B5EF4-FFF2-40B4-BE49-F238E27FC236}">
              <a16:creationId xmlns:a16="http://schemas.microsoft.com/office/drawing/2014/main" id="{A04400A9-EA00-41C4-8630-36AD20A1E084}"/>
            </a:ext>
          </a:extLst>
        </cdr:cNvPr>
        <cdr:cNvSpPr txBox="1"/>
      </cdr:nvSpPr>
      <cdr:spPr>
        <a:xfrm xmlns:a="http://schemas.openxmlformats.org/drawingml/2006/main">
          <a:off x="1205990" y="316771"/>
          <a:ext cx="775432" cy="13847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6214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2428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8642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4856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31070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7284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3498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9712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763" algn="r"/>
          <a:r>
            <a:rPr lang="en-IE" sz="900" b="1" dirty="0">
              <a:solidFill>
                <a:srgbClr val="7F7F7F"/>
              </a:solidFill>
            </a:rPr>
            <a:t>Other </a:t>
          </a:r>
        </a:p>
      </cdr:txBody>
    </cdr:sp>
  </cdr:relSizeAnchor>
  <cdr:relSizeAnchor xmlns:cdr="http://schemas.openxmlformats.org/drawingml/2006/chartDrawing">
    <cdr:from>
      <cdr:x>0.63164</cdr:x>
      <cdr:y>0.18026</cdr:y>
    </cdr:from>
    <cdr:to>
      <cdr:x>0.80817</cdr:x>
      <cdr:y>0.23896</cdr:y>
    </cdr:to>
    <cdr:sp macro="" textlink="">
      <cdr:nvSpPr>
        <cdr:cNvPr id="4" name="TextBox 34">
          <a:extLst xmlns:a="http://schemas.openxmlformats.org/drawingml/2006/main">
            <a:ext uri="{FF2B5EF4-FFF2-40B4-BE49-F238E27FC236}">
              <a16:creationId xmlns:a16="http://schemas.microsoft.com/office/drawing/2014/main" id="{DD4C94F2-610A-975E-7A88-22A3C448C67A}"/>
            </a:ext>
          </a:extLst>
        </cdr:cNvPr>
        <cdr:cNvSpPr txBox="1"/>
      </cdr:nvSpPr>
      <cdr:spPr>
        <a:xfrm xmlns:a="http://schemas.openxmlformats.org/drawingml/2006/main">
          <a:off x="2774419" y="425327"/>
          <a:ext cx="775388" cy="13850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6214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2428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8642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4856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31070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7284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3498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9712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763" algn="l"/>
          <a:r>
            <a:rPr lang="en-IE" sz="900" b="1" dirty="0">
              <a:solidFill>
                <a:srgbClr val="7F7F7F"/>
              </a:solidFill>
            </a:rPr>
            <a:t>98FM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33876</cdr:x>
      <cdr:y>0.14279</cdr:y>
    </cdr:from>
    <cdr:to>
      <cdr:x>0.5153</cdr:x>
      <cdr:y>0.20148</cdr:y>
    </cdr:to>
    <cdr:sp macro="" textlink="">
      <cdr:nvSpPr>
        <cdr:cNvPr id="2" name="TextBox 25">
          <a:extLst xmlns:a="http://schemas.openxmlformats.org/drawingml/2006/main">
            <a:ext uri="{FF2B5EF4-FFF2-40B4-BE49-F238E27FC236}">
              <a16:creationId xmlns:a16="http://schemas.microsoft.com/office/drawing/2014/main" id="{DBF4BDCA-30C3-1158-1DC3-58058FAA2B9A}"/>
            </a:ext>
          </a:extLst>
        </cdr:cNvPr>
        <cdr:cNvSpPr txBox="1"/>
      </cdr:nvSpPr>
      <cdr:spPr>
        <a:xfrm xmlns:a="http://schemas.openxmlformats.org/drawingml/2006/main">
          <a:off x="1487981" y="336899"/>
          <a:ext cx="775411" cy="1384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6214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2428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8642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4856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31070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7284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3498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9712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763"/>
          <a:r>
            <a:rPr lang="en-IE" sz="900" b="1" dirty="0">
              <a:solidFill>
                <a:srgbClr val="7F7F7F"/>
              </a:solidFill>
            </a:rPr>
            <a:t>Other 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63246</cdr:x>
      <cdr:y>0.57987</cdr:y>
    </cdr:from>
    <cdr:to>
      <cdr:x>0.83807</cdr:x>
      <cdr:y>0.64509</cdr:y>
    </cdr:to>
    <cdr:sp macro="" textlink="">
      <cdr:nvSpPr>
        <cdr:cNvPr id="2" name="TextBox 33">
          <a:extLst xmlns:a="http://schemas.openxmlformats.org/drawingml/2006/main">
            <a:ext uri="{FF2B5EF4-FFF2-40B4-BE49-F238E27FC236}">
              <a16:creationId xmlns:a16="http://schemas.microsoft.com/office/drawing/2014/main" id="{D0F13F6A-C2C0-485D-9336-48A6F325EC9B}"/>
            </a:ext>
          </a:extLst>
        </cdr:cNvPr>
        <cdr:cNvSpPr txBox="1"/>
      </cdr:nvSpPr>
      <cdr:spPr>
        <a:xfrm xmlns:a="http://schemas.openxmlformats.org/drawingml/2006/main">
          <a:off x="2778008" y="1368189"/>
          <a:ext cx="903118" cy="1538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6214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2428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8642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4856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31070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7284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3498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9712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763"/>
          <a:r>
            <a:rPr lang="en-IE" sz="1000" b="1" dirty="0">
              <a:solidFill>
                <a:srgbClr val="7F7F7F"/>
              </a:solidFill>
            </a:rPr>
            <a:t>Cork’s 96FM</a:t>
          </a:r>
          <a:endParaRPr lang="en-IE" sz="1000" dirty="0">
            <a:solidFill>
              <a:srgbClr val="7F7F7F"/>
            </a:solidFill>
          </a:endParaRPr>
        </a:p>
      </cdr:txBody>
    </cdr:sp>
  </cdr:relSizeAnchor>
  <cdr:relSizeAnchor xmlns:cdr="http://schemas.openxmlformats.org/drawingml/2006/chartDrawing">
    <cdr:from>
      <cdr:x>0.14262</cdr:x>
      <cdr:y>0.47409</cdr:y>
    </cdr:from>
    <cdr:to>
      <cdr:x>0.31916</cdr:x>
      <cdr:y>0.53931</cdr:y>
    </cdr:to>
    <cdr:sp macro="" textlink="">
      <cdr:nvSpPr>
        <cdr:cNvPr id="4" name="TextBox 21">
          <a:extLst xmlns:a="http://schemas.openxmlformats.org/drawingml/2006/main">
            <a:ext uri="{FF2B5EF4-FFF2-40B4-BE49-F238E27FC236}">
              <a16:creationId xmlns:a16="http://schemas.microsoft.com/office/drawing/2014/main" id="{50AA00CF-5DC5-646B-91EF-4EB86E3E5004}"/>
            </a:ext>
          </a:extLst>
        </cdr:cNvPr>
        <cdr:cNvSpPr txBox="1"/>
      </cdr:nvSpPr>
      <cdr:spPr>
        <a:xfrm xmlns:a="http://schemas.openxmlformats.org/drawingml/2006/main">
          <a:off x="626441" y="1118595"/>
          <a:ext cx="775432" cy="15388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6214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2428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8642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4856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31070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7284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3498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9712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763" algn="r"/>
          <a:r>
            <a:rPr lang="en-IE" sz="1000" b="1" dirty="0">
              <a:solidFill>
                <a:srgbClr val="7F7F7F"/>
              </a:solidFill>
            </a:rPr>
            <a:t>National</a:t>
          </a:r>
          <a:r>
            <a:rPr lang="en-IE" sz="1000" dirty="0">
              <a:solidFill>
                <a:srgbClr val="7F7F7F"/>
              </a:solidFill>
            </a:rPr>
            <a:t> </a:t>
          </a:r>
        </a:p>
      </cdr:txBody>
    </cdr:sp>
  </cdr:relSizeAnchor>
  <cdr:relSizeAnchor xmlns:cdr="http://schemas.openxmlformats.org/drawingml/2006/chartDrawing">
    <cdr:from>
      <cdr:x>0.63892</cdr:x>
      <cdr:y>0.30042</cdr:y>
    </cdr:from>
    <cdr:to>
      <cdr:x>0.89161</cdr:x>
      <cdr:y>0.36564</cdr:y>
    </cdr:to>
    <cdr:sp macro="" textlink="">
      <cdr:nvSpPr>
        <cdr:cNvPr id="5" name="Rectangle 4">
          <a:extLst xmlns:a="http://schemas.openxmlformats.org/drawingml/2006/main">
            <a:ext uri="{FF2B5EF4-FFF2-40B4-BE49-F238E27FC236}">
              <a16:creationId xmlns:a16="http://schemas.microsoft.com/office/drawing/2014/main" id="{95D5E0F2-8D57-4A08-A0EB-5D8A4C4A2F0B}"/>
            </a:ext>
          </a:extLst>
        </cdr:cNvPr>
        <cdr:cNvSpPr/>
      </cdr:nvSpPr>
      <cdr:spPr>
        <a:xfrm xmlns:a="http://schemas.openxmlformats.org/drawingml/2006/main">
          <a:off x="2806401" y="708837"/>
          <a:ext cx="1109911" cy="1538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6214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2428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8642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4856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31070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7284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3498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9712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763"/>
          <a:r>
            <a:rPr lang="en-IE" sz="1000" b="1" dirty="0">
              <a:solidFill>
                <a:srgbClr val="7F7F7F"/>
              </a:solidFill>
            </a:rPr>
            <a:t>Cork's RED FM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53955</cdr:x>
      <cdr:y>0.72243</cdr:y>
    </cdr:from>
    <cdr:to>
      <cdr:x>0.64633</cdr:x>
      <cdr:y>0.78765</cdr:y>
    </cdr:to>
    <cdr:sp macro="" textlink="">
      <cdr:nvSpPr>
        <cdr:cNvPr id="3" name="TextBox 24">
          <a:extLst xmlns:a="http://schemas.openxmlformats.org/drawingml/2006/main">
            <a:ext uri="{FF2B5EF4-FFF2-40B4-BE49-F238E27FC236}">
              <a16:creationId xmlns:a16="http://schemas.microsoft.com/office/drawing/2014/main" id="{74897941-7875-8FF9-4279-623028D2DFD6}"/>
            </a:ext>
          </a:extLst>
        </cdr:cNvPr>
        <cdr:cNvSpPr txBox="1"/>
      </cdr:nvSpPr>
      <cdr:spPr>
        <a:xfrm xmlns:a="http://schemas.openxmlformats.org/drawingml/2006/main">
          <a:off x="2369912" y="1704559"/>
          <a:ext cx="469019" cy="1538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6214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2428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8642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4856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31070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7284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3498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9712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763" algn="r"/>
          <a:r>
            <a:rPr lang="en-IE" sz="1000" b="1" dirty="0">
              <a:solidFill>
                <a:srgbClr val="7F7F7F"/>
              </a:solidFill>
            </a:rPr>
            <a:t>C103</a:t>
          </a:r>
          <a:endParaRPr lang="en-IE" sz="1000" dirty="0">
            <a:solidFill>
              <a:srgbClr val="7F7F7F"/>
            </a:solidFill>
          </a:endParaRPr>
        </a:p>
      </cdr:txBody>
    </cdr:sp>
  </cdr:relSizeAnchor>
  <cdr:relSizeAnchor xmlns:cdr="http://schemas.openxmlformats.org/drawingml/2006/chartDrawing">
    <cdr:from>
      <cdr:x>0.64979</cdr:x>
      <cdr:y>0.60933</cdr:y>
    </cdr:from>
    <cdr:to>
      <cdr:x>0.86514</cdr:x>
      <cdr:y>0.67455</cdr:y>
    </cdr:to>
    <cdr:sp macro="" textlink="">
      <cdr:nvSpPr>
        <cdr:cNvPr id="4" name="TextBox 30">
          <a:extLst xmlns:a="http://schemas.openxmlformats.org/drawingml/2006/main">
            <a:ext uri="{FF2B5EF4-FFF2-40B4-BE49-F238E27FC236}">
              <a16:creationId xmlns:a16="http://schemas.microsoft.com/office/drawing/2014/main" id="{0E2BC671-F8F9-B404-87EC-BAFA67DC871E}"/>
            </a:ext>
          </a:extLst>
        </cdr:cNvPr>
        <cdr:cNvSpPr txBox="1"/>
      </cdr:nvSpPr>
      <cdr:spPr>
        <a:xfrm xmlns:a="http://schemas.openxmlformats.org/drawingml/2006/main">
          <a:off x="2854134" y="1437690"/>
          <a:ext cx="945900" cy="15390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0" rIns="0" bIns="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763"/>
          <a:r>
            <a:rPr lang="en-IE" sz="1000" b="1" dirty="0">
              <a:solidFill>
                <a:srgbClr val="7F7F7F"/>
              </a:solidFill>
            </a:rPr>
            <a:t>Cork’s 96FM</a:t>
          </a:r>
          <a:endParaRPr lang="en-IE" sz="1000" dirty="0">
            <a:solidFill>
              <a:srgbClr val="7F7F7F"/>
            </a:solidFill>
          </a:endParaRPr>
        </a:p>
      </cdr:txBody>
    </cdr:sp>
  </cdr:relSizeAnchor>
  <cdr:relSizeAnchor xmlns:cdr="http://schemas.openxmlformats.org/drawingml/2006/chartDrawing">
    <cdr:from>
      <cdr:x>0.2422</cdr:x>
      <cdr:y>0.14945</cdr:y>
    </cdr:from>
    <cdr:to>
      <cdr:x>0.41873</cdr:x>
      <cdr:y>0.21467</cdr:y>
    </cdr:to>
    <cdr:sp macro="" textlink="">
      <cdr:nvSpPr>
        <cdr:cNvPr id="5" name="TextBox 23">
          <a:extLst xmlns:a="http://schemas.openxmlformats.org/drawingml/2006/main">
            <a:ext uri="{FF2B5EF4-FFF2-40B4-BE49-F238E27FC236}">
              <a16:creationId xmlns:a16="http://schemas.microsoft.com/office/drawing/2014/main" id="{22F4EBDE-D009-76A0-AE3E-A3081243A089}"/>
            </a:ext>
          </a:extLst>
        </cdr:cNvPr>
        <cdr:cNvSpPr txBox="1"/>
      </cdr:nvSpPr>
      <cdr:spPr>
        <a:xfrm xmlns:a="http://schemas.openxmlformats.org/drawingml/2006/main">
          <a:off x="1063841" y="352626"/>
          <a:ext cx="775388" cy="1538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62140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2428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86422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4856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310704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7284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3498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97126" algn="l" defTabSz="924282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763" algn="r"/>
          <a:r>
            <a:rPr lang="en-IE" sz="1000" b="1" dirty="0">
              <a:solidFill>
                <a:srgbClr val="7F7F7F"/>
              </a:solidFill>
            </a:rPr>
            <a:t>Other</a:t>
          </a:r>
          <a:r>
            <a:rPr lang="en-IE" sz="1000" dirty="0">
              <a:solidFill>
                <a:srgbClr val="7F7F7F"/>
              </a:solidFill>
            </a:rPr>
            <a:t> 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21783" cy="493097"/>
          </a:xfrm>
          <a:prstGeom prst="rect">
            <a:avLst/>
          </a:prstGeom>
        </p:spPr>
        <p:txBody>
          <a:bodyPr vert="horz" lIns="87938" tIns="43969" rIns="87938" bIns="43969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8824" y="3"/>
            <a:ext cx="2921783" cy="493097"/>
          </a:xfrm>
          <a:prstGeom prst="rect">
            <a:avLst/>
          </a:prstGeom>
        </p:spPr>
        <p:txBody>
          <a:bodyPr vert="horz" lIns="87938" tIns="43969" rIns="87938" bIns="43969" rtlCol="0"/>
          <a:lstStyle>
            <a:lvl1pPr algn="r">
              <a:defRPr sz="1200"/>
            </a:lvl1pPr>
          </a:lstStyle>
          <a:p>
            <a:fld id="{11059CDB-72EA-483D-9A34-D50D3267644F}" type="datetimeFigureOut">
              <a:rPr lang="en-GB" smtClean="0"/>
              <a:t>05/11/2025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21783" cy="493097"/>
          </a:xfrm>
          <a:prstGeom prst="rect">
            <a:avLst/>
          </a:prstGeom>
        </p:spPr>
        <p:txBody>
          <a:bodyPr vert="horz" lIns="87938" tIns="43969" rIns="87938" bIns="43969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8824" y="9378037"/>
            <a:ext cx="2921783" cy="493097"/>
          </a:xfrm>
          <a:prstGeom prst="rect">
            <a:avLst/>
          </a:prstGeom>
        </p:spPr>
        <p:txBody>
          <a:bodyPr vert="horz" lIns="87938" tIns="43969" rIns="87938" bIns="43969" rtlCol="0" anchor="b"/>
          <a:lstStyle>
            <a:lvl1pPr algn="r">
              <a:defRPr sz="1200"/>
            </a:lvl1pPr>
          </a:lstStyle>
          <a:p>
            <a:fld id="{82556AC4-8048-47C4-97D0-565009C72CF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82416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21582" cy="493633"/>
          </a:xfrm>
          <a:prstGeom prst="rect">
            <a:avLst/>
          </a:prstGeom>
        </p:spPr>
        <p:txBody>
          <a:bodyPr vert="horz" lIns="95254" tIns="47627" rIns="95254" bIns="47627" rtlCol="0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8971" y="2"/>
            <a:ext cx="2921582" cy="493633"/>
          </a:xfrm>
          <a:prstGeom prst="rect">
            <a:avLst/>
          </a:prstGeom>
        </p:spPr>
        <p:txBody>
          <a:bodyPr vert="horz" lIns="95254" tIns="47627" rIns="95254" bIns="47627" rtlCol="0"/>
          <a:lstStyle>
            <a:lvl1pPr algn="r">
              <a:defRPr sz="1300"/>
            </a:lvl1pPr>
          </a:lstStyle>
          <a:p>
            <a:fld id="{2D6798F8-BDA6-46C0-A11F-B16041C3620C}" type="datetimeFigureOut">
              <a:rPr lang="en-GB" smtClean="0"/>
              <a:t>05/11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2550" y="741363"/>
            <a:ext cx="6577013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54" tIns="47627" rIns="95254" bIns="47627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212" y="4689515"/>
            <a:ext cx="5393690" cy="4442698"/>
          </a:xfrm>
          <a:prstGeom prst="rect">
            <a:avLst/>
          </a:prstGeom>
        </p:spPr>
        <p:txBody>
          <a:bodyPr vert="horz" lIns="95254" tIns="47627" rIns="95254" bIns="4762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7318"/>
            <a:ext cx="2921582" cy="493633"/>
          </a:xfrm>
          <a:prstGeom prst="rect">
            <a:avLst/>
          </a:prstGeom>
        </p:spPr>
        <p:txBody>
          <a:bodyPr vert="horz" lIns="95254" tIns="47627" rIns="95254" bIns="47627" rtlCol="0" anchor="b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8971" y="9377318"/>
            <a:ext cx="2921582" cy="493633"/>
          </a:xfrm>
          <a:prstGeom prst="rect">
            <a:avLst/>
          </a:prstGeom>
        </p:spPr>
        <p:txBody>
          <a:bodyPr vert="horz" lIns="95254" tIns="47627" rIns="95254" bIns="47627" rtlCol="0" anchor="b"/>
          <a:lstStyle>
            <a:lvl1pPr algn="r">
              <a:defRPr sz="1300"/>
            </a:lvl1pPr>
          </a:lstStyle>
          <a:p>
            <a:fld id="{628DE85F-A49F-4D4C-8D78-799212E249B2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3358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242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62140" algn="l" defTabSz="9242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24282" algn="l" defTabSz="9242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86422" algn="l" defTabSz="9242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48564" algn="l" defTabSz="9242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310704" algn="l" defTabSz="9242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72846" algn="l" defTabSz="9242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34986" algn="l" defTabSz="9242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97126" algn="l" defTabSz="9242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DE85F-A49F-4D4C-8D78-799212E249B2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38019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DE85F-A49F-4D4C-8D78-799212E249B2}" type="slidenum">
              <a:rPr lang="en-GB" smtClean="0"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8711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DE85F-A49F-4D4C-8D78-799212E249B2}" type="slidenum">
              <a:rPr lang="en-GB" smtClean="0"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76340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DE85F-A49F-4D4C-8D78-799212E249B2}" type="slidenum">
              <a:rPr lang="en-GB" smtClean="0"/>
              <a:t>3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1289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81542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24843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5993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19220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58EEA6-420A-4063-9A89-A7A2D24674C5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6712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70971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DE85F-A49F-4D4C-8D78-799212E249B2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58138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DE85F-A49F-4D4C-8D78-799212E249B2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73406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DE85F-A49F-4D4C-8D78-799212E249B2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32355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DE85F-A49F-4D4C-8D78-799212E249B2}" type="slidenum">
              <a:rPr lang="en-GB" smtClean="0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4982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DE85F-A49F-4D4C-8D78-799212E249B2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85097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DE85F-A49F-4D4C-8D78-799212E249B2}" type="slidenum">
              <a:rPr lang="en-GB" smtClean="0"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09674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DE85F-A49F-4D4C-8D78-799212E249B2}" type="slidenum">
              <a:rPr lang="en-GB" smtClean="0"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77988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DE85F-A49F-4D4C-8D78-799212E249B2}" type="slidenum">
              <a:rPr lang="en-GB" smtClean="0"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5189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33342"/>
            <a:ext cx="7589520" cy="276999"/>
          </a:xfrm>
          <a:noFill/>
        </p:spPr>
        <p:txBody>
          <a:bodyPr vert="horz" wrap="square" lIns="0" tIns="45720" rIns="0" bIns="0" rtlCol="0" anchor="t">
            <a:spAutoFit/>
          </a:bodyPr>
          <a:lstStyle>
            <a:lvl1pPr>
              <a:defRPr kumimoji="0" lang="en-US" sz="1500" b="0" i="0" u="none" strike="noStrike" cap="none" spc="0" normalizeH="0" dirty="0">
                <a:ln>
                  <a:noFill/>
                </a:ln>
                <a:solidFill>
                  <a:srgbClr val="F2664B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</a:lstStyle>
          <a:p>
            <a:pPr marL="0" marR="0" lvl="0" indent="0" defTabSz="685800" fontAlgn="auto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</a:pPr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36370"/>
            <a:ext cx="6718167" cy="369332"/>
          </a:xfrm>
        </p:spPr>
        <p:txBody>
          <a:bodyPr vert="horz" wrap="square" lIns="162000" tIns="45720" rIns="162000" bIns="45720" rtlCol="0" anchor="b">
            <a:spAutoFit/>
          </a:bodyPr>
          <a:lstStyle>
            <a:lvl1pPr>
              <a:defRPr lang="en-GB" sz="2000" b="1" spc="-75" dirty="0">
                <a:solidFill>
                  <a:srgbClr val="7F7F7F"/>
                </a:solidFill>
                <a:ea typeface="+mj-ea"/>
                <a:cs typeface="+mj-cs"/>
              </a:defRPr>
            </a:lvl1pPr>
          </a:lstStyle>
          <a:p>
            <a:pPr lvl="0" defTabSz="6858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EB325C5-9E18-D46D-6AE9-87D8D43D95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2376" y="4711852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>
              <a:defRPr lang="en-GB" smtClean="0"/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986918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5370" y="108369"/>
            <a:ext cx="7406640" cy="369332"/>
          </a:xfrm>
        </p:spPr>
        <p:txBody>
          <a:bodyPr/>
          <a:lstStyle>
            <a:lvl1pPr>
              <a:defRPr sz="2000"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0082AF1-D728-213D-07E8-831AD5312E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2376" y="4711852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>
              <a:defRPr lang="en-GB" smtClean="0"/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540558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03590" y="1356615"/>
            <a:ext cx="8536821" cy="29010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GB" sz="1200" cap="none" dirty="0" smtClean="0"/>
            </a:lvl1pPr>
            <a:lvl2pPr>
              <a:defRPr lang="en-GB" dirty="0" smtClean="0"/>
            </a:lvl2pPr>
            <a:lvl3pPr>
              <a:defRPr lang="en-GB" dirty="0"/>
            </a:lvl3pPr>
          </a:lstStyle>
          <a:p>
            <a:pPr marL="176213" lvl="0" indent="-176213">
              <a:buChar char="•"/>
            </a:pPr>
            <a:r>
              <a:rPr lang="en-GB" dirty="0"/>
              <a:t>Click to add text </a:t>
            </a:r>
          </a:p>
          <a:p>
            <a:pPr marL="476250" lvl="1" indent="-166688">
              <a:buChar char="–"/>
              <a:tabLst/>
            </a:pPr>
            <a:r>
              <a:rPr lang="en-GB" dirty="0"/>
              <a:t>Second level</a:t>
            </a:r>
          </a:p>
          <a:p>
            <a:pPr marL="692150" lvl="2" indent="-177800">
              <a:buSzPct val="85000"/>
            </a:pPr>
            <a:r>
              <a:rPr lang="en-GB" dirty="0"/>
              <a:t>Third level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590" y="84073"/>
            <a:ext cx="7517662" cy="383182"/>
          </a:xfrm>
        </p:spPr>
        <p:txBody>
          <a:bodyPr vert="horz" wrap="square" lIns="0" tIns="45720" rIns="0" bIns="45720" rtlCol="0" anchor="b">
            <a:spAutoFit/>
          </a:bodyPr>
          <a:lstStyle>
            <a:lvl1pPr>
              <a:defRPr lang="en-GB" sz="2000" dirty="0">
                <a:solidFill>
                  <a:srgbClr val="7F7F7F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3589" y="517973"/>
            <a:ext cx="7488689" cy="276999"/>
          </a:xfrm>
          <a:prstGeom prst="rect">
            <a:avLst/>
          </a:prstGeom>
          <a:noFill/>
        </p:spPr>
        <p:txBody>
          <a:bodyPr vert="horz" wrap="square" lIns="0" tIns="45720" rIns="0" bIns="0" rtlCol="0" anchor="t">
            <a:spAutoFit/>
          </a:bodyPr>
          <a:lstStyle>
            <a:lvl1pPr>
              <a:defRPr kumimoji="0" lang="en-GB" sz="1500" b="0" i="0" u="none" strike="noStrike" cap="none" spc="0" normalizeH="0" dirty="0">
                <a:ln>
                  <a:noFill/>
                </a:ln>
                <a:solidFill>
                  <a:srgbClr val="F2664B"/>
                </a:solidFill>
                <a:effectLst/>
                <a:uLnTx/>
                <a:uFillTx/>
                <a:latin typeface="Arial"/>
                <a:cs typeface="+mn-cs"/>
              </a:defRPr>
            </a:lvl1pPr>
          </a:lstStyle>
          <a:p>
            <a:pPr marR="0" lvl="0" defTabSz="685800" fontAlgn="auto">
              <a:spcBef>
                <a:spcPts val="135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/>
            </a:pPr>
            <a:r>
              <a:rPr lang="en-GB" dirty="0"/>
              <a:t>Subtitle of the slid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04E7E30E-024E-583E-C2FB-000B615333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2376" y="4711852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>
              <a:defRPr lang="en-GB" smtClean="0"/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9190639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769BCC7A-85FA-2F1E-9741-B4D1A133BD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2376" y="4711852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>
              <a:defRPr lang="en-GB" smtClean="0"/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76993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9F9892-E36B-69F5-C931-5CF9324432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293644"/>
            <a:ext cx="6858000" cy="1338828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613BF78-D914-25A5-AFF4-42E9B35F97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A53990-E71D-4576-E8E2-F696D64571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C90A92-12F9-DD4B-8126-7BEE867137D5}" type="datetimeFigureOut">
              <a:rPr lang="en-US" smtClean="0"/>
              <a:t>11/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9FD96E-14F0-C70F-0C27-665C31FE62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DD130F-212B-C650-FB50-333B249795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5F195-9431-E140-936C-122E79E634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4159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2376" y="628598"/>
            <a:ext cx="7589520" cy="276999"/>
          </a:xfrm>
          <a:noFill/>
        </p:spPr>
        <p:txBody>
          <a:bodyPr vert="horz" wrap="square" lIns="0" tIns="45720" rIns="0" bIns="0" rtlCol="0" anchor="t">
            <a:spAutoFit/>
          </a:bodyPr>
          <a:lstStyle>
            <a:lvl1pPr>
              <a:defRPr kumimoji="0" lang="en-US" sz="1500" b="0" i="0" u="none" strike="noStrike" cap="none" spc="0" normalizeH="0" dirty="0">
                <a:ln>
                  <a:noFill/>
                </a:ln>
                <a:solidFill>
                  <a:srgbClr val="F2664B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</a:lstStyle>
          <a:p>
            <a:pPr marL="0" marR="0" lvl="0" indent="0" defTabSz="685800" fontAlgn="auto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</a:pPr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2376" y="237762"/>
            <a:ext cx="6725791" cy="369332"/>
          </a:xfrm>
        </p:spPr>
        <p:txBody>
          <a:bodyPr vert="horz" wrap="square" lIns="162000" tIns="45720" rIns="162000" bIns="45720" rtlCol="0" anchor="b">
            <a:spAutoFit/>
          </a:bodyPr>
          <a:lstStyle>
            <a:lvl1pPr>
              <a:defRPr lang="en-GB" sz="2000" b="1" spc="-75" dirty="0">
                <a:solidFill>
                  <a:srgbClr val="7F7F7F"/>
                </a:solidFill>
                <a:ea typeface="+mj-ea"/>
                <a:cs typeface="+mj-cs"/>
              </a:defRPr>
            </a:lvl1pPr>
          </a:lstStyle>
          <a:p>
            <a:pPr lvl="0" defTabSz="6858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650" y="1388443"/>
            <a:ext cx="7870391" cy="2643008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9D92A21C-44B1-B561-EB37-23E2D28331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2376" y="4711852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>
              <a:defRPr lang="en-GB" smtClean="0"/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352133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36987"/>
            <a:ext cx="7589520" cy="276999"/>
          </a:xfrm>
          <a:noFill/>
        </p:spPr>
        <p:txBody>
          <a:bodyPr vert="horz" wrap="square" lIns="0" tIns="45720" rIns="0" bIns="0" rtlCol="0" anchor="t">
            <a:spAutoFit/>
          </a:bodyPr>
          <a:lstStyle>
            <a:lvl1pPr>
              <a:defRPr kumimoji="0" lang="en-US" sz="1500" b="0" i="0" u="none" strike="noStrike" cap="none" spc="0" normalizeH="0" dirty="0">
                <a:ln>
                  <a:noFill/>
                </a:ln>
                <a:solidFill>
                  <a:srgbClr val="F2664B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</a:lstStyle>
          <a:p>
            <a:pPr marL="0" marR="0" lvl="0" indent="0" defTabSz="685800" fontAlgn="auto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</a:pPr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29373"/>
            <a:ext cx="6710396" cy="369332"/>
          </a:xfrm>
        </p:spPr>
        <p:txBody>
          <a:bodyPr vert="horz" wrap="square" lIns="162000" tIns="45720" rIns="162000" bIns="45720" rtlCol="0" anchor="b">
            <a:spAutoFit/>
          </a:bodyPr>
          <a:lstStyle>
            <a:lvl1pPr>
              <a:defRPr lang="en-GB" sz="2000" b="1" spc="-75" dirty="0">
                <a:solidFill>
                  <a:srgbClr val="7F7F7F"/>
                </a:solidFill>
                <a:ea typeface="+mj-ea"/>
                <a:cs typeface="+mj-cs"/>
              </a:defRPr>
            </a:lvl1pPr>
          </a:lstStyle>
          <a:p>
            <a:pPr lvl="0">
              <a:lnSpc>
                <a:spcPct val="90000"/>
              </a:lnSpc>
              <a:spcBef>
                <a:spcPts val="408"/>
              </a:spcBef>
              <a:tabLst/>
            </a:pPr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3363" y="1399203"/>
            <a:ext cx="8288337" cy="2639397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cap="none">
                <a:solidFill>
                  <a:schemeClr val="bg1">
                    <a:lumMod val="50000"/>
                  </a:schemeClr>
                </a:solidFill>
              </a:defRPr>
            </a:lvl1pPr>
            <a:lvl2pPr marL="476250" indent="-1666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tabLst/>
              <a:defRPr sz="1200">
                <a:solidFill>
                  <a:schemeClr val="bg1">
                    <a:lumMod val="50000"/>
                  </a:schemeClr>
                </a:solidFill>
              </a:defRPr>
            </a:lvl2pPr>
            <a:lvl3pPr marL="692150" indent="-177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>
                <a:solidFill>
                  <a:schemeClr val="bg1">
                    <a:lumMod val="50000"/>
                  </a:schemeClr>
                </a:solidFill>
              </a:defRPr>
            </a:lvl3pPr>
            <a:lvl5pPr marL="968375" indent="-17462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-"/>
              <a:defRPr sz="12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99122AA-7327-90AE-688E-BA5A33D53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2376" y="4711852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>
              <a:defRPr lang="en-GB" smtClean="0"/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950507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595042"/>
            <a:ext cx="7498080" cy="276999"/>
          </a:xfrm>
          <a:noFill/>
        </p:spPr>
        <p:txBody>
          <a:bodyPr vert="horz" wrap="square" lIns="0" tIns="45720" rIns="0" bIns="0" rtlCol="0" anchor="t">
            <a:spAutoFit/>
          </a:bodyPr>
          <a:lstStyle>
            <a:lvl1pPr>
              <a:defRPr kumimoji="0" lang="en-US" sz="1500" b="0" i="0" u="none" strike="noStrike" cap="none" spc="0" normalizeH="0" dirty="0">
                <a:ln>
                  <a:noFill/>
                </a:ln>
                <a:solidFill>
                  <a:srgbClr val="F2664B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</a:lstStyle>
          <a:p>
            <a:pPr marL="0" marR="0" lvl="0" indent="0" defTabSz="685800" fontAlgn="auto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</a:pPr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195817"/>
            <a:ext cx="6710517" cy="369332"/>
          </a:xfrm>
        </p:spPr>
        <p:txBody>
          <a:bodyPr vert="horz" wrap="square" lIns="162000" tIns="45720" rIns="162000" bIns="45720" rtlCol="0" anchor="b">
            <a:spAutoFit/>
          </a:bodyPr>
          <a:lstStyle>
            <a:lvl1pPr>
              <a:defRPr lang="en-GB" sz="2000" b="1" spc="-75" dirty="0">
                <a:solidFill>
                  <a:srgbClr val="7F7F7F"/>
                </a:solidFill>
                <a:ea typeface="+mj-ea"/>
                <a:cs typeface="+mj-cs"/>
              </a:defRPr>
            </a:lvl1pPr>
          </a:lstStyle>
          <a:p>
            <a:pPr lvl="0">
              <a:lnSpc>
                <a:spcPct val="90000"/>
              </a:lnSpc>
              <a:spcBef>
                <a:spcPts val="408"/>
              </a:spcBef>
              <a:tabLst/>
            </a:pPr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42687" y="1388443"/>
            <a:ext cx="3864347" cy="442661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012927" y="1388443"/>
            <a:ext cx="3873898" cy="442661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242687" y="2001691"/>
            <a:ext cx="3864347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5012927" y="2001691"/>
            <a:ext cx="3873898" cy="2029761"/>
          </a:xfrm>
        </p:spPr>
        <p:txBody>
          <a:bodyPr lIns="73459" rIns="24486"/>
          <a:lstStyle>
            <a:lvl1pPr>
              <a:defRPr sz="15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DF4A7E57-D70F-5FBF-3C01-22AE21E890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2376" y="4711854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>
              <a:defRPr lang="en-GB" smtClean="0"/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678250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ide image [Red]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D1BCECF4-A891-A96E-B730-0D5F98539D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2376" y="4751882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rgbClr val="595959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</a:t>
            </a:r>
          </a:p>
        </p:txBody>
      </p:sp>
      <p:sp>
        <p:nvSpPr>
          <p:cNvPr id="6" name="Classification">
            <a:extLst>
              <a:ext uri="{FF2B5EF4-FFF2-40B4-BE49-F238E27FC236}">
                <a16:creationId xmlns:a16="http://schemas.microsoft.com/office/drawing/2014/main" id="{EEC3C454-03A6-07E5-5595-D0FD9DF63D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612344" y="4988589"/>
            <a:ext cx="6044925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© Ipsos B&amp;A | 24-096094-JNLR-Sales House Report 2025-3 | November 2025 | V3 | Internal/Client Use Only | Strictly Confidential</a:t>
            </a:r>
            <a:endParaRPr lang="en-US" sz="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2185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">
            <a:extLst>
              <a:ext uri="{FF2B5EF4-FFF2-40B4-BE49-F238E27FC236}">
                <a16:creationId xmlns:a16="http://schemas.microsoft.com/office/drawing/2014/main" id="{B90D2767-13A7-06B4-FC70-4F1449A1AF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2376" y="4711852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>
              <a:defRPr lang="en-GB" smtClean="0"/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8114196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3963">
          <p15:clr>
            <a:srgbClr val="F26B43"/>
          </p15:clr>
        </p15:guide>
        <p15:guide id="2" orient="horz" pos="4194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27737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1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03589" y="1356615"/>
            <a:ext cx="4133396" cy="2901060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spcBef>
                <a:spcPts val="1350"/>
              </a:spcBef>
              <a:buSzPct val="80000"/>
              <a:buFont typeface="Wingdings" panose="05000000000000000000" pitchFamily="2" charset="2"/>
              <a:buChar char="l"/>
              <a:defRPr sz="1350">
                <a:solidFill>
                  <a:schemeClr val="bg1">
                    <a:lumMod val="50000"/>
                  </a:schemeClr>
                </a:solidFill>
              </a:defRPr>
            </a:lvl1pPr>
            <a:lvl2pPr marL="466725" indent="-235744">
              <a:defRPr sz="12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05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707016" y="1356615"/>
            <a:ext cx="4133396" cy="29010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</a:lstStyle>
          <a:p>
            <a:pPr marL="214313" lvl="0" indent="-214313">
              <a:buSzPct val="80000"/>
              <a:buFont typeface="Wingdings" panose="05000000000000000000" pitchFamily="2" charset="2"/>
              <a:buChar char="l"/>
            </a:pPr>
            <a:r>
              <a:rPr lang="en-GB" dirty="0"/>
              <a:t>Click to add text </a:t>
            </a:r>
          </a:p>
          <a:p>
            <a:pPr marL="466725"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36AA8F6-3282-4008-B363-606EF79D5A92}"/>
              </a:ext>
            </a:extLst>
          </p:cNvPr>
          <p:cNvCxnSpPr>
            <a:cxnSpLocks/>
          </p:cNvCxnSpPr>
          <p:nvPr/>
        </p:nvCxnSpPr>
        <p:spPr>
          <a:xfrm flipV="1">
            <a:off x="4571954" y="1356615"/>
            <a:ext cx="0" cy="290106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289381D-000C-4698-9886-87BDE2F423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3834" y="563769"/>
            <a:ext cx="1954213" cy="276999"/>
          </a:xfrm>
          <a:prstGeom prst="rect">
            <a:avLst/>
          </a:prstGeom>
          <a:noFill/>
        </p:spPr>
        <p:txBody>
          <a:bodyPr vert="horz" wrap="square" lIns="0" tIns="45720" rIns="0" bIns="0" rtlCol="0" anchor="t">
            <a:spAutoFit/>
          </a:bodyPr>
          <a:lstStyle>
            <a:lvl1pPr>
              <a:defRPr kumimoji="0" lang="en-GB" sz="1500" b="0" i="0" u="none" strike="noStrike" cap="none" spc="0" normalizeH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cs typeface="+mn-cs"/>
              </a:defRPr>
            </a:lvl1pPr>
          </a:lstStyle>
          <a:p>
            <a:pPr marR="0" lvl="0" defTabSz="685800" fontAlgn="auto">
              <a:spcBef>
                <a:spcPts val="135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/>
            </a:pPr>
            <a:r>
              <a:rPr lang="en-GB" dirty="0"/>
              <a:t>Subtitle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1902F3D7-536F-4C93-A1A5-2968C2FE37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3590" y="4374420"/>
            <a:ext cx="6515100" cy="223138"/>
          </a:xfrm>
          <a:prstGeom prst="rect">
            <a:avLst/>
          </a:prstGeom>
        </p:spPr>
        <p:txBody>
          <a:bodyPr wrap="square" lIns="180000" anchor="b">
            <a:spAutoFit/>
          </a:bodyPr>
          <a:lstStyle>
            <a:lvl1pPr marL="342900" indent="-342900">
              <a:lnSpc>
                <a:spcPct val="100000"/>
              </a:lnSpc>
              <a:spcBef>
                <a:spcPts val="0"/>
              </a:spcBef>
              <a:buNone/>
              <a:defRPr sz="600" b="0" i="1" cap="none">
                <a:solidFill>
                  <a:schemeClr val="bg1">
                    <a:lumMod val="50000"/>
                  </a:schemeClr>
                </a:solidFill>
              </a:defRPr>
            </a:lvl1pPr>
            <a:lvl2pPr marL="100013" indent="0">
              <a:buNone/>
              <a:defRPr/>
            </a:lvl2pPr>
            <a:lvl3pPr marL="407194" indent="0">
              <a:buNone/>
              <a:defRPr/>
            </a:lvl3pPr>
            <a:lvl4pPr marL="569119" indent="0">
              <a:buNone/>
              <a:defRPr/>
            </a:lvl4pPr>
            <a:lvl5pPr marL="775097" indent="0">
              <a:buNone/>
              <a:defRPr/>
            </a:lvl5pPr>
          </a:lstStyle>
          <a:p>
            <a:pPr lvl="0"/>
            <a:r>
              <a:rPr lang="en-GB" dirty="0"/>
              <a:t>Q.		</a:t>
            </a:r>
          </a:p>
          <a:p>
            <a:pPr lvl="0"/>
            <a:r>
              <a:rPr lang="en-GB" dirty="0"/>
              <a:t>Base: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5D20695B-1FA4-7EA5-B737-C0EC076BDB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2376" y="4711852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>
              <a:defRPr lang="en-GB" smtClean="0"/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8093427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FEFD7FDE-381E-1C4E-9907-19574BFDE6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2376" y="4711852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>
              <a:defRPr lang="en-GB" smtClean="0"/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4839476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3963">
          <p15:clr>
            <a:srgbClr val="F26B43"/>
          </p15:clr>
        </p15:guide>
        <p15:guide id="2" orient="horz" pos="4194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E6C039DF-3850-8983-4B59-C1806CC9C3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2376" y="4711852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>
              <a:defRPr lang="en-GB" smtClean="0"/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165604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2376" y="202631"/>
            <a:ext cx="7589520" cy="369332"/>
          </a:xfrm>
          <a:prstGeom prst="rect">
            <a:avLst/>
          </a:prstGeom>
        </p:spPr>
        <p:txBody>
          <a:bodyPr vert="horz" wrap="square" lIns="162000" tIns="45720" rIns="162000" bIns="45720" rtlCol="0" anchor="b">
            <a:spAutoFit/>
          </a:bodyPr>
          <a:lstStyle/>
          <a:p>
            <a:pPr marL="0" lvl="0" indent="0" defTabSz="685800">
              <a:spcBef>
                <a:spcPct val="0"/>
              </a:spcBef>
              <a:spcAft>
                <a:spcPts val="300"/>
              </a:spcAft>
              <a:buFont typeface="Arial" panose="020B0604020202020204" pitchFamily="34" charset="0"/>
            </a:pPr>
            <a:r>
              <a:rPr lang="en-US" dirty="0"/>
              <a:t>Click to add emphasis part of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650" y="1388443"/>
            <a:ext cx="8651621" cy="2643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5C55879-5644-4A51-8560-CD52F297020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94230" y="77981"/>
            <a:ext cx="914400" cy="675323"/>
          </a:xfrm>
          <a:prstGeom prst="rect">
            <a:avLst/>
          </a:prstGeom>
        </p:spPr>
      </p:pic>
      <p:sp>
        <p:nvSpPr>
          <p:cNvPr id="7" name="Slide Number">
            <a:extLst>
              <a:ext uri="{FF2B5EF4-FFF2-40B4-BE49-F238E27FC236}">
                <a16:creationId xmlns:a16="http://schemas.microsoft.com/office/drawing/2014/main" id="{1AE4A237-C7EC-2D30-C548-B53A0A819F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2376" y="4751882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rgbClr val="595959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</a:t>
            </a:r>
          </a:p>
        </p:txBody>
      </p:sp>
      <p:sp>
        <p:nvSpPr>
          <p:cNvPr id="9" name="Classification">
            <a:extLst>
              <a:ext uri="{FF2B5EF4-FFF2-40B4-BE49-F238E27FC236}">
                <a16:creationId xmlns:a16="http://schemas.microsoft.com/office/drawing/2014/main" id="{043B9C1A-E497-83E2-EDA2-0E4AFDDBA1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612344" y="4988589"/>
            <a:ext cx="6044925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© Ipsos B&amp;A | 24-096094-JNLR-Sales House Report 2025-3 | November 2025 | V3 | Internal/Client Use Only | Strictly Confidential</a:t>
            </a:r>
            <a:endParaRPr lang="en-US" sz="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1" name="Ipsos Logo">
            <a:extLst>
              <a:ext uri="{FF2B5EF4-FFF2-40B4-BE49-F238E27FC236}">
                <a16:creationId xmlns:a16="http://schemas.microsoft.com/office/drawing/2014/main" id="{FDFFF858-5FD9-6707-E66C-E5C84729F9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71326" y="4596135"/>
            <a:ext cx="938214" cy="446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344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318" r:id="rId1"/>
    <p:sldLayoutId id="2147493383" r:id="rId2"/>
    <p:sldLayoutId id="2147493319" r:id="rId3"/>
    <p:sldLayoutId id="2147493334" r:id="rId4"/>
    <p:sldLayoutId id="2147493395" r:id="rId5"/>
    <p:sldLayoutId id="2147493424" r:id="rId6"/>
    <p:sldLayoutId id="2147493442" r:id="rId7"/>
    <p:sldLayoutId id="2147493446" r:id="rId8"/>
    <p:sldLayoutId id="2147493447" r:id="rId9"/>
    <p:sldLayoutId id="2147493448" r:id="rId10"/>
    <p:sldLayoutId id="2147493540" r:id="rId11"/>
    <p:sldLayoutId id="2147493553" r:id="rId12"/>
    <p:sldLayoutId id="2147493554" r:id="rId13"/>
  </p:sldLayoutIdLst>
  <p:hf hdr="0"/>
  <p:txStyles>
    <p:titleStyle>
      <a:lvl1pPr algn="l" defTabSz="924282" rtl="0" eaLnBrk="1" latinLnBrk="0" hangingPunct="1">
        <a:lnSpc>
          <a:spcPct val="90000"/>
        </a:lnSpc>
        <a:spcBef>
          <a:spcPts val="408"/>
        </a:spcBef>
        <a:buNone/>
        <a:tabLst/>
        <a:defRPr lang="en-US" sz="2000" b="1" kern="1200" cap="all" spc="-75" baseline="0" dirty="0">
          <a:solidFill>
            <a:srgbClr val="7F7F7F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 cap="all" baseline="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240" indent="0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86802" indent="-186802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431911" indent="-191121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200" kern="120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606834" indent="-176004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SzPct val="85000"/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41775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03916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66056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28198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2140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4282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6422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8564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0704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7284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3498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9712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19.xml"/><Relationship Id="rId4" Type="http://schemas.openxmlformats.org/officeDocument/2006/relationships/chart" Target="../charts/char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23.xml"/><Relationship Id="rId4" Type="http://schemas.openxmlformats.org/officeDocument/2006/relationships/chart" Target="../charts/chart2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27.xml"/><Relationship Id="rId4" Type="http://schemas.openxmlformats.org/officeDocument/2006/relationships/chart" Target="../charts/char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31.xml"/><Relationship Id="rId5" Type="http://schemas.openxmlformats.org/officeDocument/2006/relationships/chart" Target="../charts/chart30.xml"/><Relationship Id="rId4" Type="http://schemas.openxmlformats.org/officeDocument/2006/relationships/chart" Target="../charts/chart2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35.xml"/><Relationship Id="rId5" Type="http://schemas.openxmlformats.org/officeDocument/2006/relationships/chart" Target="../charts/chart34.xml"/><Relationship Id="rId4" Type="http://schemas.openxmlformats.org/officeDocument/2006/relationships/chart" Target="../charts/chart3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39.xml"/><Relationship Id="rId5" Type="http://schemas.openxmlformats.org/officeDocument/2006/relationships/chart" Target="../charts/chart38.xml"/><Relationship Id="rId4" Type="http://schemas.openxmlformats.org/officeDocument/2006/relationships/chart" Target="../charts/chart3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1.xml"/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43.xml"/><Relationship Id="rId4" Type="http://schemas.openxmlformats.org/officeDocument/2006/relationships/chart" Target="../charts/chart4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5.xml"/><Relationship Id="rId2" Type="http://schemas.openxmlformats.org/officeDocument/2006/relationships/chart" Target="../charts/chart44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47.xml"/><Relationship Id="rId4" Type="http://schemas.openxmlformats.org/officeDocument/2006/relationships/chart" Target="../charts/chart4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9.xml"/><Relationship Id="rId2" Type="http://schemas.openxmlformats.org/officeDocument/2006/relationships/chart" Target="../charts/chart48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51.xml"/><Relationship Id="rId4" Type="http://schemas.openxmlformats.org/officeDocument/2006/relationships/chart" Target="../charts/chart5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55.xml"/><Relationship Id="rId5" Type="http://schemas.openxmlformats.org/officeDocument/2006/relationships/chart" Target="../charts/chart54.xml"/><Relationship Id="rId4" Type="http://schemas.openxmlformats.org/officeDocument/2006/relationships/chart" Target="../charts/chart5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6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59.xml"/><Relationship Id="rId5" Type="http://schemas.openxmlformats.org/officeDocument/2006/relationships/chart" Target="../charts/chart58.xml"/><Relationship Id="rId4" Type="http://schemas.openxmlformats.org/officeDocument/2006/relationships/chart" Target="../charts/chart5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0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63.xml"/><Relationship Id="rId5" Type="http://schemas.openxmlformats.org/officeDocument/2006/relationships/chart" Target="../charts/chart62.xml"/><Relationship Id="rId4" Type="http://schemas.openxmlformats.org/officeDocument/2006/relationships/chart" Target="../charts/chart6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5.xml"/><Relationship Id="rId2" Type="http://schemas.openxmlformats.org/officeDocument/2006/relationships/chart" Target="../charts/chart64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67.xml"/><Relationship Id="rId4" Type="http://schemas.openxmlformats.org/officeDocument/2006/relationships/chart" Target="../charts/chart6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9.xml"/><Relationship Id="rId2" Type="http://schemas.openxmlformats.org/officeDocument/2006/relationships/chart" Target="../charts/chart68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71.xml"/><Relationship Id="rId4" Type="http://schemas.openxmlformats.org/officeDocument/2006/relationships/chart" Target="../charts/chart7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3.xml"/><Relationship Id="rId2" Type="http://schemas.openxmlformats.org/officeDocument/2006/relationships/chart" Target="../charts/chart72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75.xml"/><Relationship Id="rId4" Type="http://schemas.openxmlformats.org/officeDocument/2006/relationships/chart" Target="../charts/chart7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6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8.xml"/><Relationship Id="rId7" Type="http://schemas.openxmlformats.org/officeDocument/2006/relationships/chart" Target="../charts/chart82.xml"/><Relationship Id="rId2" Type="http://schemas.openxmlformats.org/officeDocument/2006/relationships/chart" Target="../charts/chart77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81.xml"/><Relationship Id="rId5" Type="http://schemas.openxmlformats.org/officeDocument/2006/relationships/chart" Target="../charts/chart80.xml"/><Relationship Id="rId4" Type="http://schemas.openxmlformats.org/officeDocument/2006/relationships/chart" Target="../charts/chart7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84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0.xml"/><Relationship Id="rId3" Type="http://schemas.openxmlformats.org/officeDocument/2006/relationships/chart" Target="../charts/chart85.xml"/><Relationship Id="rId7" Type="http://schemas.openxmlformats.org/officeDocument/2006/relationships/chart" Target="../charts/chart89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6" Type="http://schemas.openxmlformats.org/officeDocument/2006/relationships/chart" Target="../charts/chart88.xml"/><Relationship Id="rId11" Type="http://schemas.openxmlformats.org/officeDocument/2006/relationships/image" Target="../media/image14.png"/><Relationship Id="rId5" Type="http://schemas.openxmlformats.org/officeDocument/2006/relationships/chart" Target="../charts/chart87.xml"/><Relationship Id="rId10" Type="http://schemas.openxmlformats.org/officeDocument/2006/relationships/chart" Target="../charts/chart92.xml"/><Relationship Id="rId4" Type="http://schemas.openxmlformats.org/officeDocument/2006/relationships/chart" Target="../charts/chart86.xml"/><Relationship Id="rId9" Type="http://schemas.openxmlformats.org/officeDocument/2006/relationships/chart" Target="../charts/chart91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8.xml"/><Relationship Id="rId3" Type="http://schemas.openxmlformats.org/officeDocument/2006/relationships/chart" Target="../charts/chart93.xml"/><Relationship Id="rId7" Type="http://schemas.openxmlformats.org/officeDocument/2006/relationships/chart" Target="../charts/chart97.xml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6" Type="http://schemas.openxmlformats.org/officeDocument/2006/relationships/chart" Target="../charts/chart96.xml"/><Relationship Id="rId11" Type="http://schemas.openxmlformats.org/officeDocument/2006/relationships/chart" Target="../charts/chart101.xml"/><Relationship Id="rId5" Type="http://schemas.openxmlformats.org/officeDocument/2006/relationships/chart" Target="../charts/chart95.xml"/><Relationship Id="rId10" Type="http://schemas.openxmlformats.org/officeDocument/2006/relationships/chart" Target="../charts/chart100.xml"/><Relationship Id="rId4" Type="http://schemas.openxmlformats.org/officeDocument/2006/relationships/chart" Target="../charts/chart94.xml"/><Relationship Id="rId9" Type="http://schemas.openxmlformats.org/officeDocument/2006/relationships/chart" Target="../charts/chart99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7.xml"/><Relationship Id="rId3" Type="http://schemas.openxmlformats.org/officeDocument/2006/relationships/chart" Target="../charts/chart102.xml"/><Relationship Id="rId7" Type="http://schemas.openxmlformats.org/officeDocument/2006/relationships/chart" Target="../charts/chart106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Relationship Id="rId6" Type="http://schemas.openxmlformats.org/officeDocument/2006/relationships/chart" Target="../charts/chart105.xml"/><Relationship Id="rId11" Type="http://schemas.openxmlformats.org/officeDocument/2006/relationships/image" Target="../media/image14.png"/><Relationship Id="rId5" Type="http://schemas.openxmlformats.org/officeDocument/2006/relationships/chart" Target="../charts/chart104.xml"/><Relationship Id="rId10" Type="http://schemas.openxmlformats.org/officeDocument/2006/relationships/chart" Target="../charts/chart109.xml"/><Relationship Id="rId4" Type="http://schemas.openxmlformats.org/officeDocument/2006/relationships/chart" Target="../charts/chart103.xml"/><Relationship Id="rId9" Type="http://schemas.openxmlformats.org/officeDocument/2006/relationships/chart" Target="../charts/chart108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5.xml"/><Relationship Id="rId3" Type="http://schemas.openxmlformats.org/officeDocument/2006/relationships/chart" Target="../charts/chart110.xml"/><Relationship Id="rId7" Type="http://schemas.openxmlformats.org/officeDocument/2006/relationships/chart" Target="../charts/chart114.xml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Relationship Id="rId6" Type="http://schemas.openxmlformats.org/officeDocument/2006/relationships/chart" Target="../charts/chart113.xml"/><Relationship Id="rId11" Type="http://schemas.openxmlformats.org/officeDocument/2006/relationships/chart" Target="../charts/chart118.xml"/><Relationship Id="rId5" Type="http://schemas.openxmlformats.org/officeDocument/2006/relationships/chart" Target="../charts/chart112.xml"/><Relationship Id="rId10" Type="http://schemas.openxmlformats.org/officeDocument/2006/relationships/chart" Target="../charts/chart117.xml"/><Relationship Id="rId4" Type="http://schemas.openxmlformats.org/officeDocument/2006/relationships/chart" Target="../charts/chart111.xml"/><Relationship Id="rId9" Type="http://schemas.openxmlformats.org/officeDocument/2006/relationships/chart" Target="../charts/chart11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2.xml"/><Relationship Id="rId3" Type="http://schemas.openxmlformats.org/officeDocument/2006/relationships/image" Target="../media/image15.png"/><Relationship Id="rId7" Type="http://schemas.openxmlformats.org/officeDocument/2006/relationships/chart" Target="../charts/chart121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120.xml"/><Relationship Id="rId5" Type="http://schemas.openxmlformats.org/officeDocument/2006/relationships/chart" Target="../charts/chart119.xml"/><Relationship Id="rId10" Type="http://schemas.openxmlformats.org/officeDocument/2006/relationships/image" Target="../media/image2.png"/><Relationship Id="rId4" Type="http://schemas.openxmlformats.org/officeDocument/2006/relationships/image" Target="../media/image16.png"/><Relationship Id="rId9" Type="http://schemas.openxmlformats.org/officeDocument/2006/relationships/chart" Target="../charts/chart12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10" Type="http://schemas.openxmlformats.org/officeDocument/2006/relationships/image" Target="../media/image13.png"/><Relationship Id="rId4" Type="http://schemas.openxmlformats.org/officeDocument/2006/relationships/image" Target="../media/image9.png"/><Relationship Id="rId9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11.xml"/><Relationship Id="rId5" Type="http://schemas.openxmlformats.org/officeDocument/2006/relationships/chart" Target="../charts/chart10.xml"/><Relationship Id="rId4" Type="http://schemas.openxmlformats.org/officeDocument/2006/relationships/chart" Target="../charts/char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15.xml"/><Relationship Id="rId5" Type="http://schemas.openxmlformats.org/officeDocument/2006/relationships/chart" Target="../charts/chart14.xml"/><Relationship Id="rId4" Type="http://schemas.openxmlformats.org/officeDocument/2006/relationships/chart" Target="../charts/char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b="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">
            <a:extLst>
              <a:ext uri="{FF2B5EF4-FFF2-40B4-BE49-F238E27FC236}">
                <a16:creationId xmlns:a16="http://schemas.microsoft.com/office/drawing/2014/main" id="{EE856471-6505-79DC-CD2A-D6B90759C4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1</a:t>
            </a:fld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3544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4000" y="0"/>
            <a:ext cx="8646971" cy="457048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pPr defTabSz="685800">
              <a:spcBef>
                <a:spcPct val="0"/>
              </a:spcBef>
            </a:pPr>
            <a:r>
              <a:rPr lang="en-IE" sz="2000" b="1" cap="all" spc="-75" dirty="0">
                <a:solidFill>
                  <a:srgbClr val="7F7F7F"/>
                </a:solidFill>
                <a:ea typeface="+mj-ea"/>
                <a:cs typeface="+mj-cs"/>
              </a:rPr>
              <a:t>PT Market Share National &amp; Sales Hous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594513" y="615423"/>
            <a:ext cx="1199367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All Adults %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374457" y="610737"/>
            <a:ext cx="944489" cy="30777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SHWK %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594513" y="2659919"/>
            <a:ext cx="1199367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All Adults %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374456" y="2668258"/>
            <a:ext cx="944489" cy="30777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SHWK %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ED7FBFB-A672-4745-B898-FB269853F329}"/>
              </a:ext>
            </a:extLst>
          </p:cNvPr>
          <p:cNvSpPr/>
          <p:nvPr/>
        </p:nvSpPr>
        <p:spPr>
          <a:xfrm>
            <a:off x="3659932" y="597006"/>
            <a:ext cx="1824137" cy="307777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National Stations</a:t>
            </a:r>
          </a:p>
        </p:txBody>
      </p:sp>
      <p:cxnSp>
        <p:nvCxnSpPr>
          <p:cNvPr id="27" name="Straight Connector 35">
            <a:extLst>
              <a:ext uri="{FF2B5EF4-FFF2-40B4-BE49-F238E27FC236}">
                <a16:creationId xmlns:a16="http://schemas.microsoft.com/office/drawing/2014/main" id="{A90A7071-6244-47A6-B3E3-DF37DC44ADF7}"/>
              </a:ext>
            </a:extLst>
          </p:cNvPr>
          <p:cNvCxnSpPr>
            <a:cxnSpLocks/>
          </p:cNvCxnSpPr>
          <p:nvPr/>
        </p:nvCxnSpPr>
        <p:spPr>
          <a:xfrm flipV="1">
            <a:off x="4571954" y="1048393"/>
            <a:ext cx="0" cy="33832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/>
          <p:cNvSpPr/>
          <p:nvPr/>
        </p:nvSpPr>
        <p:spPr>
          <a:xfrm>
            <a:off x="3659932" y="2659919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Sales Houses</a:t>
            </a:r>
          </a:p>
        </p:txBody>
      </p:sp>
      <p:cxnSp>
        <p:nvCxnSpPr>
          <p:cNvPr id="5" name="Straight Connector 35">
            <a:extLst>
              <a:ext uri="{FF2B5EF4-FFF2-40B4-BE49-F238E27FC236}">
                <a16:creationId xmlns:a16="http://schemas.microsoft.com/office/drawing/2014/main" id="{2F60DA96-3B1A-1AAB-3294-6319C620C18C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2054615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A3B0938F-7B7C-47BA-43DD-A3AE7DDA19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10</a:t>
            </a:fld>
            <a:r>
              <a:rPr lang="en-GB" dirty="0"/>
              <a:t> </a:t>
            </a:r>
          </a:p>
        </p:txBody>
      </p:sp>
      <p:graphicFrame>
        <p:nvGraphicFramePr>
          <p:cNvPr id="3" name="Content Placeholder 11">
            <a:extLst>
              <a:ext uri="{FF2B5EF4-FFF2-40B4-BE49-F238E27FC236}">
                <a16:creationId xmlns:a16="http://schemas.microsoft.com/office/drawing/2014/main" id="{2E296009-5A36-E1FB-61B4-63B3E1667C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89554130"/>
              </p:ext>
            </p:extLst>
          </p:nvPr>
        </p:nvGraphicFramePr>
        <p:xfrm>
          <a:off x="95039" y="638994"/>
          <a:ext cx="4392385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11">
            <a:extLst>
              <a:ext uri="{FF2B5EF4-FFF2-40B4-BE49-F238E27FC236}">
                <a16:creationId xmlns:a16="http://schemas.microsoft.com/office/drawing/2014/main" id="{72561B3A-610C-84DA-1A3C-D030350637A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7846013"/>
              </p:ext>
            </p:extLst>
          </p:nvPr>
        </p:nvGraphicFramePr>
        <p:xfrm>
          <a:off x="4674575" y="647333"/>
          <a:ext cx="4392385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ontent Placeholder 11">
            <a:extLst>
              <a:ext uri="{FF2B5EF4-FFF2-40B4-BE49-F238E27FC236}">
                <a16:creationId xmlns:a16="http://schemas.microsoft.com/office/drawing/2014/main" id="{27274561-7394-8665-9D9A-0E22E7760F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4250707"/>
              </p:ext>
            </p:extLst>
          </p:nvPr>
        </p:nvGraphicFramePr>
        <p:xfrm>
          <a:off x="59247" y="2623473"/>
          <a:ext cx="4559577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ontent Placeholder 11">
            <a:extLst>
              <a:ext uri="{FF2B5EF4-FFF2-40B4-BE49-F238E27FC236}">
                <a16:creationId xmlns:a16="http://schemas.microsoft.com/office/drawing/2014/main" id="{2E07E8A0-83E4-C9BF-4680-4A2AD4C1ACA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35489965"/>
              </p:ext>
            </p:extLst>
          </p:nvPr>
        </p:nvGraphicFramePr>
        <p:xfrm>
          <a:off x="4618824" y="2623473"/>
          <a:ext cx="4559577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141BB51E-870A-0548-8EC6-5DEBE061F473}"/>
              </a:ext>
            </a:extLst>
          </p:cNvPr>
          <p:cNvSpPr txBox="1">
            <a:spLocks/>
          </p:cNvSpPr>
          <p:nvPr/>
        </p:nvSpPr>
        <p:spPr>
          <a:xfrm>
            <a:off x="224598" y="4581147"/>
            <a:ext cx="2143045" cy="184666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9,734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A798D72-1E4A-E3E8-1EA4-B7C0690A3244}"/>
              </a:ext>
            </a:extLst>
          </p:cNvPr>
          <p:cNvSpPr txBox="1">
            <a:spLocks/>
          </p:cNvSpPr>
          <p:nvPr/>
        </p:nvSpPr>
        <p:spPr>
          <a:xfrm>
            <a:off x="4984094" y="4581147"/>
            <a:ext cx="2143045" cy="184666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2,82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B338090-0A42-1FE6-E90E-F6D2BB7BD0C4}"/>
              </a:ext>
            </a:extLst>
          </p:cNvPr>
          <p:cNvSpPr txBox="1"/>
          <p:nvPr/>
        </p:nvSpPr>
        <p:spPr>
          <a:xfrm>
            <a:off x="3316844" y="4782049"/>
            <a:ext cx="2552302" cy="9233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r"/>
            <a:r>
              <a:rPr lang="en-GB" sz="600" b="1" i="1" dirty="0">
                <a:solidFill>
                  <a:schemeClr val="accent2">
                    <a:lumMod val="75000"/>
                  </a:schemeClr>
                </a:solidFill>
              </a:rPr>
              <a:t>RTE definition 2025 has been updated to include Raidio na Gaeltachta</a:t>
            </a:r>
            <a:endParaRPr lang="en-IE" sz="6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03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1B1AA1DC-41E3-484B-BF5D-361956316474}"/>
              </a:ext>
            </a:extLst>
          </p:cNvPr>
          <p:cNvCxnSpPr>
            <a:cxnSpLocks/>
          </p:cNvCxnSpPr>
          <p:nvPr/>
        </p:nvCxnSpPr>
        <p:spPr>
          <a:xfrm flipV="1">
            <a:off x="4571954" y="1048393"/>
            <a:ext cx="0" cy="33832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4000" y="0"/>
            <a:ext cx="8646971" cy="457048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pPr defTabSz="685800">
              <a:spcBef>
                <a:spcPct val="0"/>
              </a:spcBef>
            </a:pPr>
            <a:r>
              <a:rPr lang="en-IE" sz="2000" b="1" cap="all" spc="-75" dirty="0">
                <a:solidFill>
                  <a:srgbClr val="7F7F7F"/>
                </a:solidFill>
                <a:ea typeface="+mj-ea"/>
                <a:cs typeface="+mj-cs"/>
              </a:rPr>
              <a:t>PT Market Share National &amp; Sales Hous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764432" y="615423"/>
            <a:ext cx="859531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15-34 %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416936" y="610737"/>
            <a:ext cx="859531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GB" dirty="0"/>
              <a:t>25-44 %</a:t>
            </a:r>
          </a:p>
        </p:txBody>
      </p:sp>
      <p:sp>
        <p:nvSpPr>
          <p:cNvPr id="55" name="Rectangle 54"/>
          <p:cNvSpPr/>
          <p:nvPr/>
        </p:nvSpPr>
        <p:spPr>
          <a:xfrm>
            <a:off x="3659932" y="597006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National Station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659932" y="2659919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Sales House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764432" y="2692343"/>
            <a:ext cx="859531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15-34 %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416936" y="2687657"/>
            <a:ext cx="859531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25-44 %</a:t>
            </a:r>
          </a:p>
        </p:txBody>
      </p:sp>
      <p:cxnSp>
        <p:nvCxnSpPr>
          <p:cNvPr id="5" name="Straight Connector 35">
            <a:extLst>
              <a:ext uri="{FF2B5EF4-FFF2-40B4-BE49-F238E27FC236}">
                <a16:creationId xmlns:a16="http://schemas.microsoft.com/office/drawing/2014/main" id="{C176DAEA-1388-8D0B-2D2D-790F3EC1B832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2054615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8A98D80-109E-9BE7-716F-B4165270AC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11</a:t>
            </a:fld>
            <a:r>
              <a:rPr lang="en-GB" dirty="0"/>
              <a:t> </a:t>
            </a:r>
          </a:p>
        </p:txBody>
      </p:sp>
      <p:graphicFrame>
        <p:nvGraphicFramePr>
          <p:cNvPr id="3" name="Content Placeholder 11">
            <a:extLst>
              <a:ext uri="{FF2B5EF4-FFF2-40B4-BE49-F238E27FC236}">
                <a16:creationId xmlns:a16="http://schemas.microsoft.com/office/drawing/2014/main" id="{12A2A48B-2879-E711-B70C-3011F14D501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7801463"/>
              </p:ext>
            </p:extLst>
          </p:nvPr>
        </p:nvGraphicFramePr>
        <p:xfrm>
          <a:off x="4563768" y="2603085"/>
          <a:ext cx="4559577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11">
            <a:extLst>
              <a:ext uri="{FF2B5EF4-FFF2-40B4-BE49-F238E27FC236}">
                <a16:creationId xmlns:a16="http://schemas.microsoft.com/office/drawing/2014/main" id="{89D104BB-AE2A-97F9-E75B-B95EE31D35D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12070087"/>
              </p:ext>
            </p:extLst>
          </p:nvPr>
        </p:nvGraphicFramePr>
        <p:xfrm>
          <a:off x="20655" y="2603085"/>
          <a:ext cx="4559577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ontent Placeholder 11">
            <a:extLst>
              <a:ext uri="{FF2B5EF4-FFF2-40B4-BE49-F238E27FC236}">
                <a16:creationId xmlns:a16="http://schemas.microsoft.com/office/drawing/2014/main" id="{6C23D571-BEE5-85AC-463F-9B0AC029109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7571352"/>
              </p:ext>
            </p:extLst>
          </p:nvPr>
        </p:nvGraphicFramePr>
        <p:xfrm>
          <a:off x="4650509" y="669369"/>
          <a:ext cx="4392385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ontent Placeholder 11">
            <a:extLst>
              <a:ext uri="{FF2B5EF4-FFF2-40B4-BE49-F238E27FC236}">
                <a16:creationId xmlns:a16="http://schemas.microsoft.com/office/drawing/2014/main" id="{C14D88D4-2C35-C35F-9EA0-4832361CFED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8389080"/>
              </p:ext>
            </p:extLst>
          </p:nvPr>
        </p:nvGraphicFramePr>
        <p:xfrm>
          <a:off x="104251" y="669369"/>
          <a:ext cx="4392385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CCF5789-1B1F-0331-8AAD-C9EEE4040E3C}"/>
              </a:ext>
            </a:extLst>
          </p:cNvPr>
          <p:cNvSpPr txBox="1">
            <a:spLocks/>
          </p:cNvSpPr>
          <p:nvPr/>
        </p:nvSpPr>
        <p:spPr>
          <a:xfrm>
            <a:off x="4984094" y="4581147"/>
            <a:ext cx="2143045" cy="184666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3,206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8460813C-4452-A6CD-A806-14CAF9936FDA}"/>
              </a:ext>
            </a:extLst>
          </p:cNvPr>
          <p:cNvSpPr txBox="1">
            <a:spLocks/>
          </p:cNvSpPr>
          <p:nvPr/>
        </p:nvSpPr>
        <p:spPr>
          <a:xfrm>
            <a:off x="224598" y="4581147"/>
            <a:ext cx="2143045" cy="184666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2,47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6B12624-CDA1-983C-CD4C-B137ABAAA446}"/>
              </a:ext>
            </a:extLst>
          </p:cNvPr>
          <p:cNvSpPr txBox="1"/>
          <p:nvPr/>
        </p:nvSpPr>
        <p:spPr>
          <a:xfrm>
            <a:off x="3306291" y="4830696"/>
            <a:ext cx="2552302" cy="9233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r"/>
            <a:r>
              <a:rPr lang="en-GB" sz="600" b="1" i="1" dirty="0">
                <a:solidFill>
                  <a:schemeClr val="accent2">
                    <a:lumMod val="75000"/>
                  </a:schemeClr>
                </a:solidFill>
              </a:rPr>
              <a:t>RTE definition 2025 has been updated to include Raidio na Gaeltachta</a:t>
            </a:r>
            <a:endParaRPr lang="en-IE" sz="6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5358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35">
            <a:extLst>
              <a:ext uri="{FF2B5EF4-FFF2-40B4-BE49-F238E27FC236}">
                <a16:creationId xmlns:a16="http://schemas.microsoft.com/office/drawing/2014/main" id="{FADB10F4-B0A5-278E-A430-A4441D0B4017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2054615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A7B3055D-9F8F-4D35-82C2-C6B84BBB887E}"/>
              </a:ext>
            </a:extLst>
          </p:cNvPr>
          <p:cNvCxnSpPr>
            <a:cxnSpLocks/>
          </p:cNvCxnSpPr>
          <p:nvPr/>
        </p:nvCxnSpPr>
        <p:spPr>
          <a:xfrm flipV="1">
            <a:off x="4571954" y="1048393"/>
            <a:ext cx="0" cy="33832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4000" y="0"/>
            <a:ext cx="8646971" cy="457048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pPr defTabSz="685800">
              <a:spcBef>
                <a:spcPct val="0"/>
              </a:spcBef>
            </a:pPr>
            <a:r>
              <a:rPr lang="en-IE" sz="2000" b="1" cap="all" spc="-75" dirty="0">
                <a:solidFill>
                  <a:srgbClr val="7F7F7F"/>
                </a:solidFill>
                <a:ea typeface="+mj-ea"/>
                <a:cs typeface="+mj-cs"/>
              </a:rPr>
              <a:t>PT Market Share National &amp; Sales House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3659932" y="2630423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Sales Hous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764431" y="615423"/>
            <a:ext cx="859531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35-54 %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501094" y="610737"/>
            <a:ext cx="691216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45+ %</a:t>
            </a:r>
          </a:p>
        </p:txBody>
      </p:sp>
      <p:sp>
        <p:nvSpPr>
          <p:cNvPr id="55" name="Rectangle 54"/>
          <p:cNvSpPr/>
          <p:nvPr/>
        </p:nvSpPr>
        <p:spPr>
          <a:xfrm>
            <a:off x="3659932" y="597006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National Station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764431" y="2671686"/>
            <a:ext cx="859531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35-54 %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501094" y="2667000"/>
            <a:ext cx="691216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45+ %</a:t>
            </a:r>
          </a:p>
        </p:txBody>
      </p:sp>
      <p:graphicFrame>
        <p:nvGraphicFramePr>
          <p:cNvPr id="9" name="Content Placeholder 11">
            <a:extLst>
              <a:ext uri="{FF2B5EF4-FFF2-40B4-BE49-F238E27FC236}">
                <a16:creationId xmlns:a16="http://schemas.microsoft.com/office/drawing/2014/main" id="{84D2307D-4725-AFD2-D907-AEF33827242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05743387"/>
              </p:ext>
            </p:extLst>
          </p:nvPr>
        </p:nvGraphicFramePr>
        <p:xfrm>
          <a:off x="4584423" y="2623473"/>
          <a:ext cx="4559577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ontent Placeholder 11">
            <a:extLst>
              <a:ext uri="{FF2B5EF4-FFF2-40B4-BE49-F238E27FC236}">
                <a16:creationId xmlns:a16="http://schemas.microsoft.com/office/drawing/2014/main" id="{0F97BD10-D76B-77CE-3835-C704BF82B07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3244417"/>
              </p:ext>
            </p:extLst>
          </p:nvPr>
        </p:nvGraphicFramePr>
        <p:xfrm>
          <a:off x="20655" y="2623473"/>
          <a:ext cx="4559577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ontent Placeholder 11">
            <a:extLst>
              <a:ext uri="{FF2B5EF4-FFF2-40B4-BE49-F238E27FC236}">
                <a16:creationId xmlns:a16="http://schemas.microsoft.com/office/drawing/2014/main" id="{64ABEA39-A691-9B88-AC5E-263D2A5A9B5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5982299"/>
              </p:ext>
            </p:extLst>
          </p:nvPr>
        </p:nvGraphicFramePr>
        <p:xfrm>
          <a:off x="4693588" y="470606"/>
          <a:ext cx="4392385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18B5ACC7-7351-AF5B-D62C-2EBD8624B08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07480690"/>
              </p:ext>
            </p:extLst>
          </p:nvPr>
        </p:nvGraphicFramePr>
        <p:xfrm>
          <a:off x="104251" y="608979"/>
          <a:ext cx="4392385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Slide Number">
            <a:extLst>
              <a:ext uri="{FF2B5EF4-FFF2-40B4-BE49-F238E27FC236}">
                <a16:creationId xmlns:a16="http://schemas.microsoft.com/office/drawing/2014/main" id="{91453DD8-73EC-FC2E-1C82-893CC7B08F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12</a:t>
            </a:fld>
            <a:r>
              <a:rPr lang="en-GB" dirty="0"/>
              <a:t> 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985B3EFB-24FE-0D6F-A1FD-4B1DF33AEFA7}"/>
              </a:ext>
            </a:extLst>
          </p:cNvPr>
          <p:cNvSpPr txBox="1">
            <a:spLocks/>
          </p:cNvSpPr>
          <p:nvPr/>
        </p:nvSpPr>
        <p:spPr>
          <a:xfrm>
            <a:off x="224598" y="4581147"/>
            <a:ext cx="2143045" cy="184666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3,480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2807DD6-F68B-EE74-B87B-02C9D5EFAA86}"/>
              </a:ext>
            </a:extLst>
          </p:cNvPr>
          <p:cNvSpPr txBox="1">
            <a:spLocks/>
          </p:cNvSpPr>
          <p:nvPr/>
        </p:nvSpPr>
        <p:spPr>
          <a:xfrm>
            <a:off x="4984094" y="4581147"/>
            <a:ext cx="2143045" cy="184666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5,419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607A30-BEDF-1300-1F79-1DD9DC5FB030}"/>
              </a:ext>
            </a:extLst>
          </p:cNvPr>
          <p:cNvSpPr txBox="1"/>
          <p:nvPr/>
        </p:nvSpPr>
        <p:spPr>
          <a:xfrm>
            <a:off x="3216412" y="4825734"/>
            <a:ext cx="2552302" cy="9233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r"/>
            <a:r>
              <a:rPr lang="en-GB" sz="600" b="1" i="1" dirty="0">
                <a:solidFill>
                  <a:schemeClr val="accent2">
                    <a:lumMod val="75000"/>
                  </a:schemeClr>
                </a:solidFill>
              </a:rPr>
              <a:t>RTE definition 2025 has been updated to include Raidio na Gaeltachta</a:t>
            </a:r>
            <a:endParaRPr lang="en-IE" sz="6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6617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b="1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42C0749-BE5F-930C-A121-6714A57ADD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465B1553-6592-F3A6-DFBC-FCB415AE47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13</a:t>
            </a:fld>
            <a:r>
              <a:rPr lang="en-GB" dirty="0"/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33C89B-4184-D435-9741-EA77C08C434A}"/>
              </a:ext>
            </a:extLst>
          </p:cNvPr>
          <p:cNvSpPr txBox="1"/>
          <p:nvPr/>
        </p:nvSpPr>
        <p:spPr>
          <a:xfrm>
            <a:off x="5954459" y="2104733"/>
            <a:ext cx="1393331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/>
            <a:r>
              <a:rPr lang="en-IE" sz="3200" b="1" dirty="0">
                <a:solidFill>
                  <a:schemeClr val="bg1"/>
                </a:solidFill>
              </a:rPr>
              <a:t>Dublin </a:t>
            </a:r>
          </a:p>
        </p:txBody>
      </p:sp>
    </p:spTree>
    <p:extLst>
      <p:ext uri="{BB962C8B-B14F-4D97-AF65-F5344CB8AC3E}">
        <p14:creationId xmlns:p14="http://schemas.microsoft.com/office/powerpoint/2010/main" val="267470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CD514DC3-1EA9-47E1-8AEC-D3424B8DB1FB}"/>
              </a:ext>
            </a:extLst>
          </p:cNvPr>
          <p:cNvCxnSpPr>
            <a:cxnSpLocks/>
          </p:cNvCxnSpPr>
          <p:nvPr/>
        </p:nvCxnSpPr>
        <p:spPr>
          <a:xfrm flipV="1">
            <a:off x="4571954" y="1048393"/>
            <a:ext cx="0" cy="33832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000" y="0"/>
            <a:ext cx="8646971" cy="443198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pPr defTabSz="685800">
              <a:spcBef>
                <a:spcPct val="0"/>
              </a:spcBef>
            </a:pPr>
            <a:r>
              <a:rPr lang="en-IE" sz="2000" b="1" cap="all" spc="-75" dirty="0">
                <a:solidFill>
                  <a:srgbClr val="7F7F7F"/>
                </a:solidFill>
                <a:ea typeface="+mj-ea"/>
                <a:cs typeface="+mj-cs"/>
              </a:rPr>
              <a:t>Weekly Reach – Dublin &amp; Dublin Sales Houses</a:t>
            </a:r>
            <a:endParaRPr lang="en-GB" sz="2000" b="1" cap="all" spc="-75" dirty="0">
              <a:solidFill>
                <a:srgbClr val="7F7F7F"/>
              </a:solidFill>
              <a:ea typeface="+mj-ea"/>
              <a:cs typeface="+mj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430151" y="597006"/>
            <a:ext cx="1506824" cy="30777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All Adults 000’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351275" y="597006"/>
            <a:ext cx="1224759" cy="30777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SHWK 000’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659932" y="597006"/>
            <a:ext cx="1824137" cy="307777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Dublin Stations</a:t>
            </a:r>
          </a:p>
        </p:txBody>
      </p:sp>
      <p:sp>
        <p:nvSpPr>
          <p:cNvPr id="38" name="Rectangle 37"/>
          <p:cNvSpPr/>
          <p:nvPr/>
        </p:nvSpPr>
        <p:spPr>
          <a:xfrm>
            <a:off x="3659932" y="2630423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Sales Houses</a:t>
            </a:r>
          </a:p>
        </p:txBody>
      </p:sp>
      <p:cxnSp>
        <p:nvCxnSpPr>
          <p:cNvPr id="4" name="Straight Connector 35">
            <a:extLst>
              <a:ext uri="{FF2B5EF4-FFF2-40B4-BE49-F238E27FC236}">
                <a16:creationId xmlns:a16="http://schemas.microsoft.com/office/drawing/2014/main" id="{447FB48F-CC37-BB7F-8DD1-0F3E7EFCC5B8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2054615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">
            <a:extLst>
              <a:ext uri="{FF2B5EF4-FFF2-40B4-BE49-F238E27FC236}">
                <a16:creationId xmlns:a16="http://schemas.microsoft.com/office/drawing/2014/main" id="{864983F2-83AD-738B-43CF-F6A3DDE779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14</a:t>
            </a:fld>
            <a:r>
              <a:rPr lang="en-GB" dirty="0"/>
              <a:t> </a:t>
            </a:r>
          </a:p>
        </p:txBody>
      </p:sp>
      <p:graphicFrame>
        <p:nvGraphicFramePr>
          <p:cNvPr id="2" name="Content Placeholder 7">
            <a:extLst>
              <a:ext uri="{FF2B5EF4-FFF2-40B4-BE49-F238E27FC236}">
                <a16:creationId xmlns:a16="http://schemas.microsoft.com/office/drawing/2014/main" id="{D20D7555-2A6F-20BE-82DF-78FEA04F4E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4147529"/>
              </p:ext>
            </p:extLst>
          </p:nvPr>
        </p:nvGraphicFramePr>
        <p:xfrm>
          <a:off x="278305" y="904783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D116282B-EA21-45B3-A494-ACC36D05091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14620477"/>
              </p:ext>
            </p:extLst>
          </p:nvPr>
        </p:nvGraphicFramePr>
        <p:xfrm>
          <a:off x="411522" y="2855809"/>
          <a:ext cx="3733537" cy="16276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ontent Placeholder 7">
            <a:extLst>
              <a:ext uri="{FF2B5EF4-FFF2-40B4-BE49-F238E27FC236}">
                <a16:creationId xmlns:a16="http://schemas.microsoft.com/office/drawing/2014/main" id="{721BFA34-E1DD-1C46-928C-14B2E242147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36950945"/>
              </p:ext>
            </p:extLst>
          </p:nvPr>
        </p:nvGraphicFramePr>
        <p:xfrm>
          <a:off x="5112903" y="913075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Content Placeholder 7">
            <a:extLst>
              <a:ext uri="{FF2B5EF4-FFF2-40B4-BE49-F238E27FC236}">
                <a16:creationId xmlns:a16="http://schemas.microsoft.com/office/drawing/2014/main" id="{01E5D6B1-57CC-D13E-858C-FA484B07B50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2416871"/>
              </p:ext>
            </p:extLst>
          </p:nvPr>
        </p:nvGraphicFramePr>
        <p:xfrm>
          <a:off x="5112903" y="2855809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13984CCE-E232-1D90-0B9A-9A0094723D65}"/>
              </a:ext>
            </a:extLst>
          </p:cNvPr>
          <p:cNvSpPr txBox="1">
            <a:spLocks/>
          </p:cNvSpPr>
          <p:nvPr/>
        </p:nvSpPr>
        <p:spPr>
          <a:xfrm>
            <a:off x="224598" y="4488814"/>
            <a:ext cx="2143045" cy="276999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Universe:	  1,266</a:t>
            </a:r>
          </a:p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  2,978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9CFD32A2-4341-943B-867B-C767030E367E}"/>
              </a:ext>
            </a:extLst>
          </p:cNvPr>
          <p:cNvSpPr txBox="1">
            <a:spLocks/>
          </p:cNvSpPr>
          <p:nvPr/>
        </p:nvSpPr>
        <p:spPr>
          <a:xfrm>
            <a:off x="4984094" y="4488814"/>
            <a:ext cx="2143045" cy="276999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Universe:  364</a:t>
            </a:r>
          </a:p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 837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E5CC911-EE28-B085-48E2-729BF9A8903B}"/>
              </a:ext>
            </a:extLst>
          </p:cNvPr>
          <p:cNvSpPr txBox="1"/>
          <p:nvPr/>
        </p:nvSpPr>
        <p:spPr>
          <a:xfrm>
            <a:off x="3328857" y="4814591"/>
            <a:ext cx="2552302" cy="9233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r"/>
            <a:r>
              <a:rPr lang="en-GB" sz="600" b="1" i="1" dirty="0">
                <a:solidFill>
                  <a:schemeClr val="accent2">
                    <a:lumMod val="75000"/>
                  </a:schemeClr>
                </a:solidFill>
              </a:rPr>
              <a:t>RTE definition 2025 has been updated to include Raidio na Gaeltachta</a:t>
            </a:r>
            <a:endParaRPr lang="en-IE" sz="6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5866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56B22F36-25ED-4292-81BB-CED7BAC8F908}"/>
              </a:ext>
            </a:extLst>
          </p:cNvPr>
          <p:cNvCxnSpPr>
            <a:cxnSpLocks/>
          </p:cNvCxnSpPr>
          <p:nvPr/>
        </p:nvCxnSpPr>
        <p:spPr>
          <a:xfrm flipV="1">
            <a:off x="4571954" y="1048393"/>
            <a:ext cx="0" cy="33832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000" y="0"/>
            <a:ext cx="8646971" cy="443198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pPr defTabSz="685800">
              <a:spcBef>
                <a:spcPct val="0"/>
              </a:spcBef>
            </a:pPr>
            <a:r>
              <a:rPr lang="en-IE" sz="2000" b="1" cap="all" spc="-75" dirty="0">
                <a:solidFill>
                  <a:srgbClr val="7F7F7F"/>
                </a:solidFill>
                <a:ea typeface="+mj-ea"/>
                <a:cs typeface="+mj-cs"/>
              </a:rPr>
              <a:t>Weekly Reach – Dublin &amp; Dublin Sales Houses</a:t>
            </a:r>
            <a:endParaRPr lang="en-GB" sz="2000" b="1" cap="all" spc="-75" dirty="0">
              <a:solidFill>
                <a:srgbClr val="7F7F7F"/>
              </a:solidFill>
              <a:ea typeface="+mj-ea"/>
              <a:cs typeface="+mj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610041" y="597006"/>
            <a:ext cx="1147045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15-34 000’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390131" y="597006"/>
            <a:ext cx="1147045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25-44 000’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659932" y="597006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Dublin Stations</a:t>
            </a:r>
          </a:p>
        </p:txBody>
      </p:sp>
      <p:sp>
        <p:nvSpPr>
          <p:cNvPr id="38" name="Rectangle 37"/>
          <p:cNvSpPr/>
          <p:nvPr/>
        </p:nvSpPr>
        <p:spPr>
          <a:xfrm>
            <a:off x="3659932" y="2630423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Sales Houses</a:t>
            </a:r>
          </a:p>
        </p:txBody>
      </p:sp>
      <p:graphicFrame>
        <p:nvGraphicFramePr>
          <p:cNvPr id="19" name="Content Placeholder 7">
            <a:extLst>
              <a:ext uri="{FF2B5EF4-FFF2-40B4-BE49-F238E27FC236}">
                <a16:creationId xmlns:a16="http://schemas.microsoft.com/office/drawing/2014/main" id="{00B67871-915F-4111-A7A8-D0A9F6C210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6700101"/>
              </p:ext>
            </p:extLst>
          </p:nvPr>
        </p:nvGraphicFramePr>
        <p:xfrm>
          <a:off x="278305" y="2865677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4" name="Content Placeholder 7">
            <a:extLst>
              <a:ext uri="{FF2B5EF4-FFF2-40B4-BE49-F238E27FC236}">
                <a16:creationId xmlns:a16="http://schemas.microsoft.com/office/drawing/2014/main" id="{33678DB7-8F65-4A39-9706-41ABF7F12C0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7329126"/>
              </p:ext>
            </p:extLst>
          </p:nvPr>
        </p:nvGraphicFramePr>
        <p:xfrm>
          <a:off x="5112903" y="881760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Content Placeholder 7">
            <a:extLst>
              <a:ext uri="{FF2B5EF4-FFF2-40B4-BE49-F238E27FC236}">
                <a16:creationId xmlns:a16="http://schemas.microsoft.com/office/drawing/2014/main" id="{2C38EF37-004B-439D-B961-B5C3311F05C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6767998"/>
              </p:ext>
            </p:extLst>
          </p:nvPr>
        </p:nvGraphicFramePr>
        <p:xfrm>
          <a:off x="5112903" y="2865677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4" name="Straight Connector 35">
            <a:extLst>
              <a:ext uri="{FF2B5EF4-FFF2-40B4-BE49-F238E27FC236}">
                <a16:creationId xmlns:a16="http://schemas.microsoft.com/office/drawing/2014/main" id="{73D1D0BE-E078-5E88-0621-1F1D825D2440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2054615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">
            <a:extLst>
              <a:ext uri="{FF2B5EF4-FFF2-40B4-BE49-F238E27FC236}">
                <a16:creationId xmlns:a16="http://schemas.microsoft.com/office/drawing/2014/main" id="{7D528CAB-4734-E652-41DE-088101677D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15</a:t>
            </a:fld>
            <a:r>
              <a:rPr lang="en-GB" dirty="0"/>
              <a:t> </a:t>
            </a:r>
          </a:p>
        </p:txBody>
      </p:sp>
      <p:graphicFrame>
        <p:nvGraphicFramePr>
          <p:cNvPr id="2" name="Content Placeholder 7">
            <a:extLst>
              <a:ext uri="{FF2B5EF4-FFF2-40B4-BE49-F238E27FC236}">
                <a16:creationId xmlns:a16="http://schemas.microsoft.com/office/drawing/2014/main" id="{E05A515A-4416-A48A-5DEE-547E0FC75A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75053082"/>
              </p:ext>
            </p:extLst>
          </p:nvPr>
        </p:nvGraphicFramePr>
        <p:xfrm>
          <a:off x="278305" y="881760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617BADE-4EDD-B58B-94A1-07D19F630075}"/>
              </a:ext>
            </a:extLst>
          </p:cNvPr>
          <p:cNvSpPr txBox="1">
            <a:spLocks/>
          </p:cNvSpPr>
          <p:nvPr/>
        </p:nvSpPr>
        <p:spPr>
          <a:xfrm>
            <a:off x="224598" y="4488814"/>
            <a:ext cx="2143045" cy="276999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Universe:	  414</a:t>
            </a:r>
          </a:p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  842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B75593-7432-0E58-063B-0D55AEA8CB86}"/>
              </a:ext>
            </a:extLst>
          </p:cNvPr>
          <p:cNvSpPr txBox="1">
            <a:spLocks/>
          </p:cNvSpPr>
          <p:nvPr/>
        </p:nvSpPr>
        <p:spPr>
          <a:xfrm>
            <a:off x="4984094" y="4488814"/>
            <a:ext cx="2143045" cy="276999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Universe:  502</a:t>
            </a:r>
          </a:p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1,108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F53606A-70AA-CC8D-82D5-05948D737769}"/>
              </a:ext>
            </a:extLst>
          </p:cNvPr>
          <p:cNvSpPr txBox="1"/>
          <p:nvPr/>
        </p:nvSpPr>
        <p:spPr>
          <a:xfrm>
            <a:off x="3321768" y="4839659"/>
            <a:ext cx="2552302" cy="9233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r"/>
            <a:r>
              <a:rPr lang="en-GB" sz="600" b="1" i="1" dirty="0">
                <a:solidFill>
                  <a:schemeClr val="accent2">
                    <a:lumMod val="75000"/>
                  </a:schemeClr>
                </a:solidFill>
              </a:rPr>
              <a:t>RTE definition 2025 has been updated to include Raidio na Gaeltachta</a:t>
            </a:r>
            <a:endParaRPr lang="en-IE" sz="6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2820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34269F17-7B47-44D1-A51F-A71470B17993}"/>
              </a:ext>
            </a:extLst>
          </p:cNvPr>
          <p:cNvCxnSpPr>
            <a:cxnSpLocks/>
          </p:cNvCxnSpPr>
          <p:nvPr/>
        </p:nvCxnSpPr>
        <p:spPr>
          <a:xfrm flipV="1">
            <a:off x="4571954" y="1048393"/>
            <a:ext cx="0" cy="33832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000" y="0"/>
            <a:ext cx="8646971" cy="443198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pPr defTabSz="685800">
              <a:spcBef>
                <a:spcPct val="0"/>
              </a:spcBef>
            </a:pPr>
            <a:r>
              <a:rPr lang="en-IE" sz="2000" b="1" cap="all" spc="-75" dirty="0">
                <a:solidFill>
                  <a:srgbClr val="7F7F7F"/>
                </a:solidFill>
                <a:ea typeface="+mj-ea"/>
                <a:cs typeface="+mj-cs"/>
              </a:rPr>
              <a:t>Weekly Reach – Dublin &amp; Dublin Sales Houses</a:t>
            </a:r>
            <a:endParaRPr lang="en-GB" sz="2000" b="1" cap="all" spc="-75" dirty="0">
              <a:solidFill>
                <a:srgbClr val="7F7F7F"/>
              </a:solidFill>
              <a:ea typeface="+mj-ea"/>
              <a:cs typeface="+mj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610040" y="597006"/>
            <a:ext cx="1147045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35-54 000’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474289" y="597006"/>
            <a:ext cx="978730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45+ 000’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659932" y="597006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Dublin Stations</a:t>
            </a:r>
          </a:p>
        </p:txBody>
      </p:sp>
      <p:sp>
        <p:nvSpPr>
          <p:cNvPr id="38" name="Rectangle 37"/>
          <p:cNvSpPr/>
          <p:nvPr/>
        </p:nvSpPr>
        <p:spPr>
          <a:xfrm>
            <a:off x="3659932" y="2630423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Sales Houses</a:t>
            </a:r>
          </a:p>
        </p:txBody>
      </p:sp>
      <p:graphicFrame>
        <p:nvGraphicFramePr>
          <p:cNvPr id="20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2008632"/>
              </p:ext>
            </p:extLst>
          </p:nvPr>
        </p:nvGraphicFramePr>
        <p:xfrm>
          <a:off x="278305" y="881760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Content Placeholder 7">
            <a:extLst>
              <a:ext uri="{FF2B5EF4-FFF2-40B4-BE49-F238E27FC236}">
                <a16:creationId xmlns:a16="http://schemas.microsoft.com/office/drawing/2014/main" id="{403E5842-9026-4F79-9A4A-5C5660DB3F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53729935"/>
              </p:ext>
            </p:extLst>
          </p:nvPr>
        </p:nvGraphicFramePr>
        <p:xfrm>
          <a:off x="278305" y="2895557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9" name="Content Placeholder 7">
            <a:extLst>
              <a:ext uri="{FF2B5EF4-FFF2-40B4-BE49-F238E27FC236}">
                <a16:creationId xmlns:a16="http://schemas.microsoft.com/office/drawing/2014/main" id="{66ABC0CA-F764-407E-8642-EDC9D198131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08875954"/>
              </p:ext>
            </p:extLst>
          </p:nvPr>
        </p:nvGraphicFramePr>
        <p:xfrm>
          <a:off x="5112903" y="881760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4" name="Content Placeholder 7">
            <a:extLst>
              <a:ext uri="{FF2B5EF4-FFF2-40B4-BE49-F238E27FC236}">
                <a16:creationId xmlns:a16="http://schemas.microsoft.com/office/drawing/2014/main" id="{FC670B6E-01B0-4D91-B24B-0F703367D6C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1807163"/>
              </p:ext>
            </p:extLst>
          </p:nvPr>
        </p:nvGraphicFramePr>
        <p:xfrm>
          <a:off x="5112903" y="2895557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4" name="Straight Connector 35">
            <a:extLst>
              <a:ext uri="{FF2B5EF4-FFF2-40B4-BE49-F238E27FC236}">
                <a16:creationId xmlns:a16="http://schemas.microsoft.com/office/drawing/2014/main" id="{C4937D83-C529-2A79-D790-9FE2EFD33723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2054615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">
            <a:extLst>
              <a:ext uri="{FF2B5EF4-FFF2-40B4-BE49-F238E27FC236}">
                <a16:creationId xmlns:a16="http://schemas.microsoft.com/office/drawing/2014/main" id="{53734E8F-7F70-9229-B6F7-44544358C5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16</a:t>
            </a:fld>
            <a:r>
              <a:rPr lang="en-GB" dirty="0"/>
              <a:t> 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964F936F-FC6D-8672-FCE9-CB4AA45A5734}"/>
              </a:ext>
            </a:extLst>
          </p:cNvPr>
          <p:cNvSpPr txBox="1">
            <a:spLocks/>
          </p:cNvSpPr>
          <p:nvPr/>
        </p:nvSpPr>
        <p:spPr>
          <a:xfrm>
            <a:off x="224598" y="4488814"/>
            <a:ext cx="2143045" cy="276999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Universe:	  478</a:t>
            </a:r>
          </a:p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1,102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3A6998C-BBD4-F010-02FD-52C83BB007C8}"/>
              </a:ext>
            </a:extLst>
          </p:cNvPr>
          <p:cNvSpPr txBox="1">
            <a:spLocks/>
          </p:cNvSpPr>
          <p:nvPr/>
        </p:nvSpPr>
        <p:spPr>
          <a:xfrm>
            <a:off x="4984094" y="4488814"/>
            <a:ext cx="2143045" cy="276999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Universe:  587</a:t>
            </a:r>
          </a:p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1,520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ADD9976-3508-C997-C559-5002C37B1B05}"/>
              </a:ext>
            </a:extLst>
          </p:cNvPr>
          <p:cNvSpPr txBox="1"/>
          <p:nvPr/>
        </p:nvSpPr>
        <p:spPr>
          <a:xfrm>
            <a:off x="3335945" y="4824577"/>
            <a:ext cx="2552302" cy="9233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r"/>
            <a:r>
              <a:rPr lang="en-GB" sz="600" b="1" i="1" dirty="0">
                <a:solidFill>
                  <a:schemeClr val="accent2">
                    <a:lumMod val="75000"/>
                  </a:schemeClr>
                </a:solidFill>
              </a:rPr>
              <a:t>RTE definition 2025 has been updated to include Raidio na Gaeltachta</a:t>
            </a:r>
            <a:endParaRPr lang="en-IE" sz="6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3863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11">
            <a:extLst>
              <a:ext uri="{FF2B5EF4-FFF2-40B4-BE49-F238E27FC236}">
                <a16:creationId xmlns:a16="http://schemas.microsoft.com/office/drawing/2014/main" id="{2581F486-02DD-728D-15D7-31D3845F684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97254565"/>
              </p:ext>
            </p:extLst>
          </p:nvPr>
        </p:nvGraphicFramePr>
        <p:xfrm>
          <a:off x="21398" y="2623473"/>
          <a:ext cx="4559577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11">
            <a:extLst>
              <a:ext uri="{FF2B5EF4-FFF2-40B4-BE49-F238E27FC236}">
                <a16:creationId xmlns:a16="http://schemas.microsoft.com/office/drawing/2014/main" id="{5CE8743E-BF68-A742-5884-7B0580CEF0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2863981"/>
              </p:ext>
            </p:extLst>
          </p:nvPr>
        </p:nvGraphicFramePr>
        <p:xfrm>
          <a:off x="4566913" y="2623473"/>
          <a:ext cx="4559577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5" name="Straight Connector 35">
            <a:extLst>
              <a:ext uri="{FF2B5EF4-FFF2-40B4-BE49-F238E27FC236}">
                <a16:creationId xmlns:a16="http://schemas.microsoft.com/office/drawing/2014/main" id="{2FE87F78-2171-4984-9237-43E9FA75EE79}"/>
              </a:ext>
            </a:extLst>
          </p:cNvPr>
          <p:cNvCxnSpPr>
            <a:cxnSpLocks/>
          </p:cNvCxnSpPr>
          <p:nvPr/>
        </p:nvCxnSpPr>
        <p:spPr>
          <a:xfrm flipV="1">
            <a:off x="4571954" y="1048393"/>
            <a:ext cx="0" cy="33832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4000" y="0"/>
            <a:ext cx="8646971" cy="457048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pPr defTabSz="685800">
              <a:spcBef>
                <a:spcPct val="0"/>
              </a:spcBef>
            </a:pPr>
            <a:r>
              <a:rPr lang="en-IE" sz="2000" b="1" cap="all" spc="-75" dirty="0">
                <a:solidFill>
                  <a:srgbClr val="7F7F7F"/>
                </a:solidFill>
                <a:ea typeface="+mj-ea"/>
                <a:cs typeface="+mj-cs"/>
              </a:rPr>
              <a:t>PT Market Share Dublin &amp; Sales Hous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594513" y="615423"/>
            <a:ext cx="1199367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All Adults %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374458" y="610737"/>
            <a:ext cx="944489" cy="30777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SHWK %</a:t>
            </a:r>
          </a:p>
        </p:txBody>
      </p:sp>
      <p:sp>
        <p:nvSpPr>
          <p:cNvPr id="55" name="Rectangle 54"/>
          <p:cNvSpPr/>
          <p:nvPr/>
        </p:nvSpPr>
        <p:spPr>
          <a:xfrm>
            <a:off x="3659932" y="597006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Dublin Station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3659932" y="2630423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Sales House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594513" y="2630423"/>
            <a:ext cx="1199367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All Adults %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374458" y="2630423"/>
            <a:ext cx="944489" cy="30777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SHWK %</a:t>
            </a:r>
          </a:p>
        </p:txBody>
      </p:sp>
      <p:cxnSp>
        <p:nvCxnSpPr>
          <p:cNvPr id="5" name="Straight Connector 35">
            <a:extLst>
              <a:ext uri="{FF2B5EF4-FFF2-40B4-BE49-F238E27FC236}">
                <a16:creationId xmlns:a16="http://schemas.microsoft.com/office/drawing/2014/main" id="{60C34B86-DD92-112C-F9C7-3432DFA9BEE2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2054615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">
            <a:extLst>
              <a:ext uri="{FF2B5EF4-FFF2-40B4-BE49-F238E27FC236}">
                <a16:creationId xmlns:a16="http://schemas.microsoft.com/office/drawing/2014/main" id="{E452572B-C8BB-95A1-6227-C9F11C8A6B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17</a:t>
            </a:fld>
            <a:r>
              <a:rPr lang="en-GB" dirty="0"/>
              <a:t> </a:t>
            </a:r>
          </a:p>
        </p:txBody>
      </p:sp>
      <p:graphicFrame>
        <p:nvGraphicFramePr>
          <p:cNvPr id="7" name="Content Placeholder 11">
            <a:extLst>
              <a:ext uri="{FF2B5EF4-FFF2-40B4-BE49-F238E27FC236}">
                <a16:creationId xmlns:a16="http://schemas.microsoft.com/office/drawing/2014/main" id="{C3FB19CB-0270-7FF3-3444-ABFCDF472C2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40325657"/>
              </p:ext>
            </p:extLst>
          </p:nvPr>
        </p:nvGraphicFramePr>
        <p:xfrm>
          <a:off x="104251" y="669369"/>
          <a:ext cx="4392385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ontent Placeholder 11">
            <a:extLst>
              <a:ext uri="{FF2B5EF4-FFF2-40B4-BE49-F238E27FC236}">
                <a16:creationId xmlns:a16="http://schemas.microsoft.com/office/drawing/2014/main" id="{C18A6F58-FA1D-3613-8DBD-FB85EF227E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0242132"/>
              </p:ext>
            </p:extLst>
          </p:nvPr>
        </p:nvGraphicFramePr>
        <p:xfrm>
          <a:off x="4650509" y="669369"/>
          <a:ext cx="4392385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E5AFA7D-A6E5-D97B-4B7B-DC87AD4E1D5F}"/>
              </a:ext>
            </a:extLst>
          </p:cNvPr>
          <p:cNvSpPr txBox="1">
            <a:spLocks/>
          </p:cNvSpPr>
          <p:nvPr/>
        </p:nvSpPr>
        <p:spPr>
          <a:xfrm>
            <a:off x="224598" y="4581147"/>
            <a:ext cx="2143045" cy="184666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2,185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888B455-2F0D-6C49-4751-DF79629941C7}"/>
              </a:ext>
            </a:extLst>
          </p:cNvPr>
          <p:cNvSpPr txBox="1">
            <a:spLocks/>
          </p:cNvSpPr>
          <p:nvPr/>
        </p:nvSpPr>
        <p:spPr>
          <a:xfrm>
            <a:off x="4984094" y="4581147"/>
            <a:ext cx="2143045" cy="184666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65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B160AD-8C75-71D7-D512-BE6802A12982}"/>
              </a:ext>
            </a:extLst>
          </p:cNvPr>
          <p:cNvSpPr txBox="1"/>
          <p:nvPr/>
        </p:nvSpPr>
        <p:spPr>
          <a:xfrm>
            <a:off x="3309436" y="4790671"/>
            <a:ext cx="2552302" cy="9233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r"/>
            <a:r>
              <a:rPr lang="en-GB" sz="600" b="1" i="1" dirty="0">
                <a:solidFill>
                  <a:schemeClr val="accent2">
                    <a:lumMod val="75000"/>
                  </a:schemeClr>
                </a:solidFill>
              </a:rPr>
              <a:t>RTE definition 2025 has been updated to include Raidio na Gaeltachta</a:t>
            </a:r>
            <a:endParaRPr lang="en-IE" sz="6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984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35">
            <a:extLst>
              <a:ext uri="{FF2B5EF4-FFF2-40B4-BE49-F238E27FC236}">
                <a16:creationId xmlns:a16="http://schemas.microsoft.com/office/drawing/2014/main" id="{D5D21BC4-91B1-4DF1-B836-B17563ADC8EA}"/>
              </a:ext>
            </a:extLst>
          </p:cNvPr>
          <p:cNvCxnSpPr>
            <a:cxnSpLocks/>
          </p:cNvCxnSpPr>
          <p:nvPr/>
        </p:nvCxnSpPr>
        <p:spPr>
          <a:xfrm flipV="1">
            <a:off x="4571954" y="1048393"/>
            <a:ext cx="0" cy="33832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4000" y="0"/>
            <a:ext cx="8646971" cy="457048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pPr defTabSz="685800">
              <a:spcBef>
                <a:spcPct val="0"/>
              </a:spcBef>
            </a:pPr>
            <a:r>
              <a:rPr lang="en-IE" sz="2000" b="1" cap="all" spc="-75" dirty="0">
                <a:solidFill>
                  <a:srgbClr val="7F7F7F"/>
                </a:solidFill>
                <a:ea typeface="+mj-ea"/>
                <a:cs typeface="+mj-cs"/>
              </a:rPr>
              <a:t>PT Market Share Dublin &amp; Sales House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3659932" y="2630423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Sales Hous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816470" y="597006"/>
            <a:ext cx="859531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15-34 %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416936" y="597006"/>
            <a:ext cx="859531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25-44 %</a:t>
            </a:r>
          </a:p>
        </p:txBody>
      </p:sp>
      <p:sp>
        <p:nvSpPr>
          <p:cNvPr id="55" name="Rectangle 54"/>
          <p:cNvSpPr/>
          <p:nvPr/>
        </p:nvSpPr>
        <p:spPr>
          <a:xfrm>
            <a:off x="3659932" y="597006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Dublin Station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823904" y="2652306"/>
            <a:ext cx="859531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15-34 %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416936" y="2652306"/>
            <a:ext cx="859531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25-44 %</a:t>
            </a:r>
          </a:p>
        </p:txBody>
      </p:sp>
      <p:cxnSp>
        <p:nvCxnSpPr>
          <p:cNvPr id="6" name="Straight Connector 35">
            <a:extLst>
              <a:ext uri="{FF2B5EF4-FFF2-40B4-BE49-F238E27FC236}">
                <a16:creationId xmlns:a16="http://schemas.microsoft.com/office/drawing/2014/main" id="{3AF4EC3B-7485-3394-14FF-AB33320CCAC1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2054615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ADAC25B-C73A-BC7A-D9DF-6F8763C722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18</a:t>
            </a:fld>
            <a:r>
              <a:rPr lang="en-GB" dirty="0"/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E0D2F2A-0596-8361-3753-C204DCACD35D}"/>
              </a:ext>
            </a:extLst>
          </p:cNvPr>
          <p:cNvSpPr txBox="1"/>
          <p:nvPr/>
        </p:nvSpPr>
        <p:spPr>
          <a:xfrm>
            <a:off x="3309436" y="4813094"/>
            <a:ext cx="2552302" cy="9233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r"/>
            <a:r>
              <a:rPr lang="en-GB" sz="600" b="1" i="1" dirty="0">
                <a:solidFill>
                  <a:schemeClr val="accent2">
                    <a:lumMod val="75000"/>
                  </a:schemeClr>
                </a:solidFill>
              </a:rPr>
              <a:t>RTE definition 2025 has been updated to include Raidio na Gaeltachta</a:t>
            </a:r>
            <a:endParaRPr lang="en-IE" sz="6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10" name="Content Placeholder 11">
            <a:extLst>
              <a:ext uri="{FF2B5EF4-FFF2-40B4-BE49-F238E27FC236}">
                <a16:creationId xmlns:a16="http://schemas.microsoft.com/office/drawing/2014/main" id="{35AEAF6C-48FB-A816-65FF-973CFDC728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25469243"/>
              </p:ext>
            </p:extLst>
          </p:nvPr>
        </p:nvGraphicFramePr>
        <p:xfrm>
          <a:off x="44662" y="2611136"/>
          <a:ext cx="4559577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" name="Content Placeholder 11">
            <a:extLst>
              <a:ext uri="{FF2B5EF4-FFF2-40B4-BE49-F238E27FC236}">
                <a16:creationId xmlns:a16="http://schemas.microsoft.com/office/drawing/2014/main" id="{BE2AB3E7-C4F8-40FB-07CB-E916ACA91B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8683489"/>
              </p:ext>
            </p:extLst>
          </p:nvPr>
        </p:nvGraphicFramePr>
        <p:xfrm>
          <a:off x="4650509" y="683225"/>
          <a:ext cx="4392385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Content Placeholder 11">
            <a:extLst>
              <a:ext uri="{FF2B5EF4-FFF2-40B4-BE49-F238E27FC236}">
                <a16:creationId xmlns:a16="http://schemas.microsoft.com/office/drawing/2014/main" id="{511571CC-F30D-9C1E-352D-FD3DE468B17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80000146"/>
              </p:ext>
            </p:extLst>
          </p:nvPr>
        </p:nvGraphicFramePr>
        <p:xfrm>
          <a:off x="104251" y="669369"/>
          <a:ext cx="4392385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Content Placeholder 11">
            <a:extLst>
              <a:ext uri="{FF2B5EF4-FFF2-40B4-BE49-F238E27FC236}">
                <a16:creationId xmlns:a16="http://schemas.microsoft.com/office/drawing/2014/main" id="{7C629EC6-8A7F-7BF9-D31A-B856A536A2C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79735273"/>
              </p:ext>
            </p:extLst>
          </p:nvPr>
        </p:nvGraphicFramePr>
        <p:xfrm>
          <a:off x="4566913" y="2640794"/>
          <a:ext cx="4559577" cy="2142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49EE01E-2DB8-524E-E87D-D5E41EFDA64C}"/>
              </a:ext>
            </a:extLst>
          </p:cNvPr>
          <p:cNvSpPr txBox="1">
            <a:spLocks/>
          </p:cNvSpPr>
          <p:nvPr/>
        </p:nvSpPr>
        <p:spPr>
          <a:xfrm>
            <a:off x="224598" y="4581147"/>
            <a:ext cx="2143045" cy="184666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463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AC44653E-C98A-E76C-D072-B41217D6CCD8}"/>
              </a:ext>
            </a:extLst>
          </p:cNvPr>
          <p:cNvSpPr txBox="1">
            <a:spLocks/>
          </p:cNvSpPr>
          <p:nvPr/>
        </p:nvSpPr>
        <p:spPr>
          <a:xfrm>
            <a:off x="4984094" y="4581147"/>
            <a:ext cx="2143045" cy="184666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780</a:t>
            </a:r>
          </a:p>
        </p:txBody>
      </p:sp>
    </p:spTree>
    <p:extLst>
      <p:ext uri="{BB962C8B-B14F-4D97-AF65-F5344CB8AC3E}">
        <p14:creationId xmlns:p14="http://schemas.microsoft.com/office/powerpoint/2010/main" val="3698341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FC53FB99-77CA-4B25-8C3F-BF3A6A4CA2E2}"/>
              </a:ext>
            </a:extLst>
          </p:cNvPr>
          <p:cNvCxnSpPr>
            <a:cxnSpLocks/>
          </p:cNvCxnSpPr>
          <p:nvPr/>
        </p:nvCxnSpPr>
        <p:spPr>
          <a:xfrm flipV="1">
            <a:off x="4571954" y="1048393"/>
            <a:ext cx="0" cy="33832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4000" y="0"/>
            <a:ext cx="8646971" cy="457048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pPr defTabSz="685800">
              <a:spcBef>
                <a:spcPct val="0"/>
              </a:spcBef>
            </a:pPr>
            <a:r>
              <a:rPr lang="en-IE" sz="2000" b="1" cap="all" spc="-75" dirty="0">
                <a:solidFill>
                  <a:srgbClr val="7F7F7F"/>
                </a:solidFill>
                <a:ea typeface="+mj-ea"/>
                <a:cs typeface="+mj-cs"/>
              </a:rPr>
              <a:t>PT Market Share Dublin &amp; Sales House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3659932" y="2630423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Sales Hous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764431" y="615423"/>
            <a:ext cx="859531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35-54 %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501094" y="610737"/>
            <a:ext cx="691216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45+ %</a:t>
            </a:r>
          </a:p>
        </p:txBody>
      </p:sp>
      <p:sp>
        <p:nvSpPr>
          <p:cNvPr id="55" name="Rectangle 54"/>
          <p:cNvSpPr/>
          <p:nvPr/>
        </p:nvSpPr>
        <p:spPr>
          <a:xfrm>
            <a:off x="3659932" y="597006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Dublin Station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501094" y="2658016"/>
            <a:ext cx="691216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45+ 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F96F53A-BF79-446E-95C1-B51DC570E6C5}"/>
              </a:ext>
            </a:extLst>
          </p:cNvPr>
          <p:cNvSpPr txBox="1"/>
          <p:nvPr/>
        </p:nvSpPr>
        <p:spPr>
          <a:xfrm>
            <a:off x="1764432" y="2652306"/>
            <a:ext cx="859531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35-54 %</a:t>
            </a:r>
          </a:p>
        </p:txBody>
      </p:sp>
      <p:cxnSp>
        <p:nvCxnSpPr>
          <p:cNvPr id="5" name="Straight Connector 35">
            <a:extLst>
              <a:ext uri="{FF2B5EF4-FFF2-40B4-BE49-F238E27FC236}">
                <a16:creationId xmlns:a16="http://schemas.microsoft.com/office/drawing/2014/main" id="{919339A7-0FA7-F7EB-E5EB-22C9AF323E2B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2054615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5EE5CD14-3C06-14A2-999A-4CCD72B16D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19</a:t>
            </a:fld>
            <a:r>
              <a:rPr lang="en-GB" dirty="0"/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45E2D35-0618-1691-E853-97755A348AEC}"/>
              </a:ext>
            </a:extLst>
          </p:cNvPr>
          <p:cNvSpPr txBox="1"/>
          <p:nvPr/>
        </p:nvSpPr>
        <p:spPr>
          <a:xfrm>
            <a:off x="3101833" y="4813397"/>
            <a:ext cx="2552302" cy="9233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r"/>
            <a:r>
              <a:rPr lang="en-GB" sz="600" b="1" i="1" dirty="0">
                <a:solidFill>
                  <a:schemeClr val="accent2">
                    <a:lumMod val="75000"/>
                  </a:schemeClr>
                </a:solidFill>
              </a:rPr>
              <a:t>RTE definition 2025 has been updated to include Raidio na Gaeltachta</a:t>
            </a:r>
            <a:endParaRPr lang="en-IE" sz="6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D5AD3DE3-89CD-A04F-E579-749670D54F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9506016"/>
              </p:ext>
            </p:extLst>
          </p:nvPr>
        </p:nvGraphicFramePr>
        <p:xfrm>
          <a:off x="44662" y="2611136"/>
          <a:ext cx="4559577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" name="Content Placeholder 11">
            <a:extLst>
              <a:ext uri="{FF2B5EF4-FFF2-40B4-BE49-F238E27FC236}">
                <a16:creationId xmlns:a16="http://schemas.microsoft.com/office/drawing/2014/main" id="{09E22A51-1538-8A37-77F6-49242B779ED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83877695"/>
              </p:ext>
            </p:extLst>
          </p:nvPr>
        </p:nvGraphicFramePr>
        <p:xfrm>
          <a:off x="4650509" y="669369"/>
          <a:ext cx="4392385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Content Placeholder 11">
            <a:extLst>
              <a:ext uri="{FF2B5EF4-FFF2-40B4-BE49-F238E27FC236}">
                <a16:creationId xmlns:a16="http://schemas.microsoft.com/office/drawing/2014/main" id="{4DE0FEDE-112D-841F-ECCC-F962B5AB3D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79856080"/>
              </p:ext>
            </p:extLst>
          </p:nvPr>
        </p:nvGraphicFramePr>
        <p:xfrm>
          <a:off x="104251" y="669369"/>
          <a:ext cx="4392385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Content Placeholder 11">
            <a:extLst>
              <a:ext uri="{FF2B5EF4-FFF2-40B4-BE49-F238E27FC236}">
                <a16:creationId xmlns:a16="http://schemas.microsoft.com/office/drawing/2014/main" id="{3D9300B6-31A6-C0F8-D502-79FC4CA6491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7098361"/>
              </p:ext>
            </p:extLst>
          </p:nvPr>
        </p:nvGraphicFramePr>
        <p:xfrm>
          <a:off x="4566913" y="2623474"/>
          <a:ext cx="4559577" cy="2142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834945-B1FD-411F-0BAC-6FCADBFEFB63}"/>
              </a:ext>
            </a:extLst>
          </p:cNvPr>
          <p:cNvSpPr txBox="1">
            <a:spLocks/>
          </p:cNvSpPr>
          <p:nvPr/>
        </p:nvSpPr>
        <p:spPr>
          <a:xfrm>
            <a:off x="224598" y="4581147"/>
            <a:ext cx="2143045" cy="184666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853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9C08AFC-BD39-C275-D7D8-69E58B2B2229}"/>
              </a:ext>
            </a:extLst>
          </p:cNvPr>
          <p:cNvSpPr txBox="1">
            <a:spLocks/>
          </p:cNvSpPr>
          <p:nvPr/>
        </p:nvSpPr>
        <p:spPr>
          <a:xfrm>
            <a:off x="4984094" y="4581147"/>
            <a:ext cx="2143045" cy="184666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1,251</a:t>
            </a:r>
          </a:p>
        </p:txBody>
      </p:sp>
    </p:spTree>
    <p:extLst>
      <p:ext uri="{BB962C8B-B14F-4D97-AF65-F5344CB8AC3E}">
        <p14:creationId xmlns:p14="http://schemas.microsoft.com/office/powerpoint/2010/main" val="2165202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34001" y="231033"/>
            <a:ext cx="8646971" cy="461548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pPr defTabSz="685800">
              <a:spcBef>
                <a:spcPct val="0"/>
              </a:spcBef>
            </a:pPr>
            <a:r>
              <a:rPr lang="en-GB" sz="2000" b="1" cap="all" spc="-75" dirty="0">
                <a:solidFill>
                  <a:srgbClr val="7F7F7F"/>
                </a:solidFill>
                <a:ea typeface="+mj-ea"/>
                <a:cs typeface="+mj-cs"/>
              </a:rPr>
              <a:t>Note to the Reader … 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828CB9D4-8105-FD15-0BE4-2D1C2B9356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2</a:t>
            </a:fld>
            <a:r>
              <a:rPr lang="en-GB" dirty="0"/>
              <a:t> 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DE6E2EF8-2590-33A7-DF51-A7C1F9255F9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67096360"/>
              </p:ext>
            </p:extLst>
          </p:nvPr>
        </p:nvGraphicFramePr>
        <p:xfrm>
          <a:off x="248515" y="809522"/>
          <a:ext cx="8646971" cy="37116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87822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7000">
        <p:fade/>
      </p:transition>
    </mc:Choice>
    <mc:Fallback xmlns="">
      <p:transition spd="med" advTm="7000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b="1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44F4BBD-AD40-1865-4150-233500B944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A7D2A0FA-1ECF-E3AD-ACA5-8D6E5503D2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20</a:t>
            </a:fld>
            <a:r>
              <a:rPr lang="en-GB" dirty="0"/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FF8779C-FAAE-32AE-B7FD-09667417BE4B}"/>
              </a:ext>
            </a:extLst>
          </p:cNvPr>
          <p:cNvSpPr txBox="1"/>
          <p:nvPr/>
        </p:nvSpPr>
        <p:spPr>
          <a:xfrm>
            <a:off x="6181284" y="2104733"/>
            <a:ext cx="939681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/>
            <a:r>
              <a:rPr lang="en-IE" sz="3200" b="1" dirty="0">
                <a:solidFill>
                  <a:schemeClr val="bg1"/>
                </a:solidFill>
              </a:rPr>
              <a:t>Cork</a:t>
            </a:r>
          </a:p>
        </p:txBody>
      </p:sp>
    </p:spTree>
    <p:extLst>
      <p:ext uri="{BB962C8B-B14F-4D97-AF65-F5344CB8AC3E}">
        <p14:creationId xmlns:p14="http://schemas.microsoft.com/office/powerpoint/2010/main" val="4214949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2C5B3097-7C70-4B6B-9E0E-96418775BD32}"/>
              </a:ext>
            </a:extLst>
          </p:cNvPr>
          <p:cNvCxnSpPr>
            <a:cxnSpLocks/>
          </p:cNvCxnSpPr>
          <p:nvPr/>
        </p:nvCxnSpPr>
        <p:spPr>
          <a:xfrm flipV="1">
            <a:off x="4571954" y="1048393"/>
            <a:ext cx="0" cy="33832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000" y="-10160"/>
            <a:ext cx="8646971" cy="443198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pPr defTabSz="685800">
              <a:spcBef>
                <a:spcPct val="0"/>
              </a:spcBef>
            </a:pPr>
            <a:r>
              <a:rPr lang="en-IE" sz="2000" b="1" cap="all" spc="-75" dirty="0">
                <a:solidFill>
                  <a:srgbClr val="7F7F7F"/>
                </a:solidFill>
                <a:ea typeface="+mj-ea"/>
                <a:cs typeface="+mj-cs"/>
              </a:rPr>
              <a:t>Weekly Reach – Cork &amp; Cork Sales Houses</a:t>
            </a:r>
            <a:endParaRPr lang="en-GB" sz="2000" b="1" cap="all" spc="-75" dirty="0">
              <a:solidFill>
                <a:srgbClr val="7F7F7F"/>
              </a:solidFill>
              <a:ea typeface="+mj-ea"/>
              <a:cs typeface="+mj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440122" y="597006"/>
            <a:ext cx="1486882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All Adults 000’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351274" y="597006"/>
            <a:ext cx="1224759" cy="30777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SHWK 000’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659932" y="597006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Cork Stations</a:t>
            </a:r>
          </a:p>
        </p:txBody>
      </p:sp>
      <p:sp>
        <p:nvSpPr>
          <p:cNvPr id="38" name="Rectangle 37"/>
          <p:cNvSpPr/>
          <p:nvPr/>
        </p:nvSpPr>
        <p:spPr>
          <a:xfrm>
            <a:off x="3659932" y="2630423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Sales Houses</a:t>
            </a:r>
          </a:p>
        </p:txBody>
      </p:sp>
      <p:cxnSp>
        <p:nvCxnSpPr>
          <p:cNvPr id="4" name="Straight Connector 35">
            <a:extLst>
              <a:ext uri="{FF2B5EF4-FFF2-40B4-BE49-F238E27FC236}">
                <a16:creationId xmlns:a16="http://schemas.microsoft.com/office/drawing/2014/main" id="{34D12964-B5A9-11BE-CC92-185CA0E90274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2054615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">
            <a:extLst>
              <a:ext uri="{FF2B5EF4-FFF2-40B4-BE49-F238E27FC236}">
                <a16:creationId xmlns:a16="http://schemas.microsoft.com/office/drawing/2014/main" id="{12D95C9B-6851-1532-3E9E-2C17EE4E25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21</a:t>
            </a:fld>
            <a:r>
              <a:rPr lang="en-GB" dirty="0"/>
              <a:t> </a:t>
            </a:r>
          </a:p>
        </p:txBody>
      </p:sp>
      <p:graphicFrame>
        <p:nvGraphicFramePr>
          <p:cNvPr id="2" name="Content Placeholder 7">
            <a:extLst>
              <a:ext uri="{FF2B5EF4-FFF2-40B4-BE49-F238E27FC236}">
                <a16:creationId xmlns:a16="http://schemas.microsoft.com/office/drawing/2014/main" id="{DB6C03F9-3BAB-0C9B-223F-462FD77454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7104197"/>
              </p:ext>
            </p:extLst>
          </p:nvPr>
        </p:nvGraphicFramePr>
        <p:xfrm>
          <a:off x="278305" y="913075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39C4EA68-96D3-7750-0270-6884CBFF8E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4704763"/>
              </p:ext>
            </p:extLst>
          </p:nvPr>
        </p:nvGraphicFramePr>
        <p:xfrm>
          <a:off x="5147434" y="2989297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ontent Placeholder 7">
            <a:extLst>
              <a:ext uri="{FF2B5EF4-FFF2-40B4-BE49-F238E27FC236}">
                <a16:creationId xmlns:a16="http://schemas.microsoft.com/office/drawing/2014/main" id="{3ECB9E1B-951F-9565-4CA1-6E259685779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26355290"/>
              </p:ext>
            </p:extLst>
          </p:nvPr>
        </p:nvGraphicFramePr>
        <p:xfrm>
          <a:off x="465236" y="2989297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Content Placeholder 7">
            <a:extLst>
              <a:ext uri="{FF2B5EF4-FFF2-40B4-BE49-F238E27FC236}">
                <a16:creationId xmlns:a16="http://schemas.microsoft.com/office/drawing/2014/main" id="{8B5132E1-4986-53E8-3CD7-9BB31C2DEB7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2452263"/>
              </p:ext>
            </p:extLst>
          </p:nvPr>
        </p:nvGraphicFramePr>
        <p:xfrm>
          <a:off x="5112903" y="913075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D4F6148-D071-C58A-B064-DBC89C49D449}"/>
              </a:ext>
            </a:extLst>
          </p:cNvPr>
          <p:cNvSpPr txBox="1">
            <a:spLocks/>
          </p:cNvSpPr>
          <p:nvPr/>
        </p:nvSpPr>
        <p:spPr>
          <a:xfrm>
            <a:off x="224598" y="4488814"/>
            <a:ext cx="2143045" cy="276999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Universe:	  500</a:t>
            </a:r>
          </a:p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1,009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EB1F0E4-F2F5-D795-2A1B-6D214B357A38}"/>
              </a:ext>
            </a:extLst>
          </p:cNvPr>
          <p:cNvSpPr txBox="1">
            <a:spLocks/>
          </p:cNvSpPr>
          <p:nvPr/>
        </p:nvSpPr>
        <p:spPr>
          <a:xfrm>
            <a:off x="4984094" y="4488814"/>
            <a:ext cx="2143045" cy="276999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Universe:  171</a:t>
            </a:r>
          </a:p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349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640D344-9CD5-A595-11B0-5A66DB7F1F2A}"/>
              </a:ext>
            </a:extLst>
          </p:cNvPr>
          <p:cNvSpPr txBox="1"/>
          <p:nvPr/>
        </p:nvSpPr>
        <p:spPr>
          <a:xfrm>
            <a:off x="3435182" y="4860758"/>
            <a:ext cx="2552302" cy="9233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r"/>
            <a:r>
              <a:rPr lang="en-GB" sz="600" b="1" i="1" dirty="0">
                <a:solidFill>
                  <a:schemeClr val="accent2">
                    <a:lumMod val="75000"/>
                  </a:schemeClr>
                </a:solidFill>
              </a:rPr>
              <a:t>RTE definition 2025 has been updated to include Raidio na Gaeltachta</a:t>
            </a:r>
            <a:endParaRPr lang="en-IE" sz="6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26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0D75C9BB-2B16-4323-AFF9-D13A5204542E}"/>
              </a:ext>
            </a:extLst>
          </p:cNvPr>
          <p:cNvCxnSpPr>
            <a:cxnSpLocks/>
          </p:cNvCxnSpPr>
          <p:nvPr/>
        </p:nvCxnSpPr>
        <p:spPr>
          <a:xfrm flipV="1">
            <a:off x="4571954" y="1048393"/>
            <a:ext cx="0" cy="33832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000" y="0"/>
            <a:ext cx="8646971" cy="443198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pPr defTabSz="685800">
              <a:spcBef>
                <a:spcPct val="0"/>
              </a:spcBef>
            </a:pPr>
            <a:r>
              <a:rPr lang="en-IE" sz="2000" b="1" cap="all" spc="-75" dirty="0">
                <a:solidFill>
                  <a:srgbClr val="7F7F7F"/>
                </a:solidFill>
                <a:ea typeface="+mj-ea"/>
                <a:cs typeface="+mj-cs"/>
              </a:rPr>
              <a:t>Weekly Reach – Cork &amp; Cork Sales Houses</a:t>
            </a:r>
            <a:endParaRPr lang="en-GB" sz="2000" b="1" cap="all" spc="-75" dirty="0">
              <a:solidFill>
                <a:srgbClr val="7F7F7F"/>
              </a:solidFill>
              <a:ea typeface="+mj-ea"/>
              <a:cs typeface="+mj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610041" y="597006"/>
            <a:ext cx="1147045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15-34 000’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390131" y="597006"/>
            <a:ext cx="1147045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25-44 000’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659932" y="597006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Cork Stations</a:t>
            </a:r>
          </a:p>
        </p:txBody>
      </p:sp>
      <p:sp>
        <p:nvSpPr>
          <p:cNvPr id="38" name="Rectangle 37"/>
          <p:cNvSpPr/>
          <p:nvPr/>
        </p:nvSpPr>
        <p:spPr>
          <a:xfrm>
            <a:off x="3659932" y="2630423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Sales Houses</a:t>
            </a:r>
          </a:p>
        </p:txBody>
      </p:sp>
      <p:cxnSp>
        <p:nvCxnSpPr>
          <p:cNvPr id="4" name="Straight Connector 35">
            <a:extLst>
              <a:ext uri="{FF2B5EF4-FFF2-40B4-BE49-F238E27FC236}">
                <a16:creationId xmlns:a16="http://schemas.microsoft.com/office/drawing/2014/main" id="{1F76C070-CF67-AF64-F22B-6768927BF3CE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2054615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">
            <a:extLst>
              <a:ext uri="{FF2B5EF4-FFF2-40B4-BE49-F238E27FC236}">
                <a16:creationId xmlns:a16="http://schemas.microsoft.com/office/drawing/2014/main" id="{BA817F9B-5E3C-9A2A-130B-27C6029A09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22</a:t>
            </a:fld>
            <a:r>
              <a:rPr lang="en-GB" dirty="0"/>
              <a:t> </a:t>
            </a:r>
          </a:p>
        </p:txBody>
      </p:sp>
      <p:graphicFrame>
        <p:nvGraphicFramePr>
          <p:cNvPr id="2" name="Content Placeholder 7">
            <a:extLst>
              <a:ext uri="{FF2B5EF4-FFF2-40B4-BE49-F238E27FC236}">
                <a16:creationId xmlns:a16="http://schemas.microsoft.com/office/drawing/2014/main" id="{CAC5ED22-3AB6-4F6E-AD68-F7385774AA0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0368378"/>
              </p:ext>
            </p:extLst>
          </p:nvPr>
        </p:nvGraphicFramePr>
        <p:xfrm>
          <a:off x="278305" y="2895557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F8CCD9EF-E70D-D8EC-0E5E-582BFE7E71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6640535"/>
              </p:ext>
            </p:extLst>
          </p:nvPr>
        </p:nvGraphicFramePr>
        <p:xfrm>
          <a:off x="5112903" y="2895557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ontent Placeholder 7">
            <a:extLst>
              <a:ext uri="{FF2B5EF4-FFF2-40B4-BE49-F238E27FC236}">
                <a16:creationId xmlns:a16="http://schemas.microsoft.com/office/drawing/2014/main" id="{34FD2B94-74BE-3BC7-2565-B5CD00B525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09539"/>
              </p:ext>
            </p:extLst>
          </p:nvPr>
        </p:nvGraphicFramePr>
        <p:xfrm>
          <a:off x="278305" y="913075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Content Placeholder 7">
            <a:extLst>
              <a:ext uri="{FF2B5EF4-FFF2-40B4-BE49-F238E27FC236}">
                <a16:creationId xmlns:a16="http://schemas.microsoft.com/office/drawing/2014/main" id="{9C7FD6DC-C70C-6119-A874-8C25EE43140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91193027"/>
              </p:ext>
            </p:extLst>
          </p:nvPr>
        </p:nvGraphicFramePr>
        <p:xfrm>
          <a:off x="5152361" y="904783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EC87F2E-4249-1180-95B2-0573D336EDA6}"/>
              </a:ext>
            </a:extLst>
          </p:cNvPr>
          <p:cNvSpPr txBox="1">
            <a:spLocks/>
          </p:cNvSpPr>
          <p:nvPr/>
        </p:nvSpPr>
        <p:spPr>
          <a:xfrm>
            <a:off x="224598" y="4488814"/>
            <a:ext cx="2143045" cy="276999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Universe:	  156</a:t>
            </a:r>
          </a:p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287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94352D-7405-393E-D75C-B207BD4B4650}"/>
              </a:ext>
            </a:extLst>
          </p:cNvPr>
          <p:cNvSpPr txBox="1">
            <a:spLocks/>
          </p:cNvSpPr>
          <p:nvPr/>
        </p:nvSpPr>
        <p:spPr>
          <a:xfrm>
            <a:off x="4984094" y="4488814"/>
            <a:ext cx="2143045" cy="276999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Universe:  165</a:t>
            </a:r>
          </a:p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330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DD3A09-66E0-BEA8-828E-21D28A25CCEB}"/>
              </a:ext>
            </a:extLst>
          </p:cNvPr>
          <p:cNvSpPr txBox="1"/>
          <p:nvPr/>
        </p:nvSpPr>
        <p:spPr>
          <a:xfrm>
            <a:off x="3230881" y="4839659"/>
            <a:ext cx="2552302" cy="9233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r"/>
            <a:r>
              <a:rPr lang="en-GB" sz="600" b="1" i="1" dirty="0">
                <a:solidFill>
                  <a:schemeClr val="accent2">
                    <a:lumMod val="75000"/>
                  </a:schemeClr>
                </a:solidFill>
              </a:rPr>
              <a:t>RTE definition 2025 has been updated to include Raidio na Gaeltachta</a:t>
            </a:r>
            <a:endParaRPr lang="en-IE" sz="6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0934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D77ECD44-9639-483C-B152-523A3A4AC69E}"/>
              </a:ext>
            </a:extLst>
          </p:cNvPr>
          <p:cNvCxnSpPr>
            <a:cxnSpLocks/>
          </p:cNvCxnSpPr>
          <p:nvPr/>
        </p:nvCxnSpPr>
        <p:spPr>
          <a:xfrm flipV="1">
            <a:off x="4571954" y="1048393"/>
            <a:ext cx="0" cy="33832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000" y="0"/>
            <a:ext cx="8646971" cy="443198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pPr defTabSz="685800">
              <a:spcBef>
                <a:spcPct val="0"/>
              </a:spcBef>
            </a:pPr>
            <a:r>
              <a:rPr lang="en-IE" sz="2000" b="1" cap="all" spc="-75" dirty="0">
                <a:solidFill>
                  <a:srgbClr val="7F7F7F"/>
                </a:solidFill>
                <a:ea typeface="+mj-ea"/>
                <a:cs typeface="+mj-cs"/>
              </a:rPr>
              <a:t>Weekly Reach – Cork &amp; Cork Sales Houses</a:t>
            </a:r>
            <a:endParaRPr lang="en-GB" sz="2000" b="1" cap="all" spc="-75" dirty="0">
              <a:solidFill>
                <a:srgbClr val="7F7F7F"/>
              </a:solidFill>
              <a:ea typeface="+mj-ea"/>
              <a:cs typeface="+mj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610040" y="597006"/>
            <a:ext cx="1147045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35-54 000’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474289" y="597006"/>
            <a:ext cx="978730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45+ 000’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659932" y="597006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Cork Stations</a:t>
            </a:r>
          </a:p>
        </p:txBody>
      </p:sp>
      <p:sp>
        <p:nvSpPr>
          <p:cNvPr id="38" name="Rectangle 37"/>
          <p:cNvSpPr/>
          <p:nvPr/>
        </p:nvSpPr>
        <p:spPr>
          <a:xfrm>
            <a:off x="3659932" y="2630423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Sales Houses</a:t>
            </a:r>
          </a:p>
        </p:txBody>
      </p:sp>
      <p:cxnSp>
        <p:nvCxnSpPr>
          <p:cNvPr id="4" name="Straight Connector 35">
            <a:extLst>
              <a:ext uri="{FF2B5EF4-FFF2-40B4-BE49-F238E27FC236}">
                <a16:creationId xmlns:a16="http://schemas.microsoft.com/office/drawing/2014/main" id="{F1654DB3-DA9A-5874-D248-209F0DF1584E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2054615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">
            <a:extLst>
              <a:ext uri="{FF2B5EF4-FFF2-40B4-BE49-F238E27FC236}">
                <a16:creationId xmlns:a16="http://schemas.microsoft.com/office/drawing/2014/main" id="{7F098996-8A91-1770-F882-E49C73B60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23</a:t>
            </a:fld>
            <a:r>
              <a:rPr lang="en-GB" dirty="0"/>
              <a:t> </a:t>
            </a:r>
          </a:p>
        </p:txBody>
      </p:sp>
      <p:graphicFrame>
        <p:nvGraphicFramePr>
          <p:cNvPr id="2" name="Content Placeholder 7">
            <a:extLst>
              <a:ext uri="{FF2B5EF4-FFF2-40B4-BE49-F238E27FC236}">
                <a16:creationId xmlns:a16="http://schemas.microsoft.com/office/drawing/2014/main" id="{D80F541F-32E9-7221-1FCB-E8A4F4382CA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5899662"/>
              </p:ext>
            </p:extLst>
          </p:nvPr>
        </p:nvGraphicFramePr>
        <p:xfrm>
          <a:off x="278305" y="2895557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0951C4DB-53A1-181C-7DC1-AF7BA9F9BE2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4752535"/>
              </p:ext>
            </p:extLst>
          </p:nvPr>
        </p:nvGraphicFramePr>
        <p:xfrm>
          <a:off x="5112903" y="2895557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ontent Placeholder 7">
            <a:extLst>
              <a:ext uri="{FF2B5EF4-FFF2-40B4-BE49-F238E27FC236}">
                <a16:creationId xmlns:a16="http://schemas.microsoft.com/office/drawing/2014/main" id="{D2047215-2794-0880-5E8E-D8EA105908E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07505004"/>
              </p:ext>
            </p:extLst>
          </p:nvPr>
        </p:nvGraphicFramePr>
        <p:xfrm>
          <a:off x="278305" y="913075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Content Placeholder 7">
            <a:extLst>
              <a:ext uri="{FF2B5EF4-FFF2-40B4-BE49-F238E27FC236}">
                <a16:creationId xmlns:a16="http://schemas.microsoft.com/office/drawing/2014/main" id="{3CAC716B-C8E3-1D5B-61A6-2DB8F36705C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9387472"/>
              </p:ext>
            </p:extLst>
          </p:nvPr>
        </p:nvGraphicFramePr>
        <p:xfrm>
          <a:off x="5112903" y="913075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6B6A3A7-892C-A5F3-EEC5-1669109D01A5}"/>
              </a:ext>
            </a:extLst>
          </p:cNvPr>
          <p:cNvSpPr txBox="1">
            <a:spLocks/>
          </p:cNvSpPr>
          <p:nvPr/>
        </p:nvSpPr>
        <p:spPr>
          <a:xfrm>
            <a:off x="224598" y="4488814"/>
            <a:ext cx="2143045" cy="276999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Universe:	  176</a:t>
            </a:r>
          </a:p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36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A376D43-0371-2F4C-3B0A-09522F879B1C}"/>
              </a:ext>
            </a:extLst>
          </p:cNvPr>
          <p:cNvSpPr txBox="1">
            <a:spLocks/>
          </p:cNvSpPr>
          <p:nvPr/>
        </p:nvSpPr>
        <p:spPr>
          <a:xfrm>
            <a:off x="4984094" y="4488814"/>
            <a:ext cx="2143045" cy="276999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Universe:  254</a:t>
            </a:r>
          </a:p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525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B25199C-6897-18AB-FC4A-772191C0C209}"/>
              </a:ext>
            </a:extLst>
          </p:cNvPr>
          <p:cNvSpPr txBox="1"/>
          <p:nvPr/>
        </p:nvSpPr>
        <p:spPr>
          <a:xfrm>
            <a:off x="3314680" y="4839659"/>
            <a:ext cx="2552302" cy="9233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r"/>
            <a:r>
              <a:rPr lang="en-GB" sz="600" b="1" i="1" dirty="0">
                <a:solidFill>
                  <a:schemeClr val="accent2">
                    <a:lumMod val="75000"/>
                  </a:schemeClr>
                </a:solidFill>
              </a:rPr>
              <a:t>RTE definition 2025 has been updated to include Raidio na Gaeltachta</a:t>
            </a:r>
            <a:endParaRPr lang="en-IE" sz="6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5446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11">
            <a:extLst>
              <a:ext uri="{FF2B5EF4-FFF2-40B4-BE49-F238E27FC236}">
                <a16:creationId xmlns:a16="http://schemas.microsoft.com/office/drawing/2014/main" id="{EFA10AC4-5910-1DB2-B97D-20AE93036F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9867304"/>
              </p:ext>
            </p:extLst>
          </p:nvPr>
        </p:nvGraphicFramePr>
        <p:xfrm>
          <a:off x="104251" y="669369"/>
          <a:ext cx="4392385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Content Placeholder 11">
            <a:extLst>
              <a:ext uri="{FF2B5EF4-FFF2-40B4-BE49-F238E27FC236}">
                <a16:creationId xmlns:a16="http://schemas.microsoft.com/office/drawing/2014/main" id="{A43D3669-EB3B-DBCA-F1A4-8F9AD2B097D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87553701"/>
              </p:ext>
            </p:extLst>
          </p:nvPr>
        </p:nvGraphicFramePr>
        <p:xfrm>
          <a:off x="4641081" y="2517321"/>
          <a:ext cx="4559577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ontent Placeholder 11">
            <a:extLst>
              <a:ext uri="{FF2B5EF4-FFF2-40B4-BE49-F238E27FC236}">
                <a16:creationId xmlns:a16="http://schemas.microsoft.com/office/drawing/2014/main" id="{A26488DB-8EED-980F-E186-01AF13237F4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53536523"/>
              </p:ext>
            </p:extLst>
          </p:nvPr>
        </p:nvGraphicFramePr>
        <p:xfrm>
          <a:off x="20655" y="2525153"/>
          <a:ext cx="4559577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35" name="Straight Connector 35">
            <a:extLst>
              <a:ext uri="{FF2B5EF4-FFF2-40B4-BE49-F238E27FC236}">
                <a16:creationId xmlns:a16="http://schemas.microsoft.com/office/drawing/2014/main" id="{E1E7979E-AD4B-468E-A736-B315DC05D198}"/>
              </a:ext>
            </a:extLst>
          </p:cNvPr>
          <p:cNvCxnSpPr>
            <a:cxnSpLocks/>
          </p:cNvCxnSpPr>
          <p:nvPr/>
        </p:nvCxnSpPr>
        <p:spPr>
          <a:xfrm flipV="1">
            <a:off x="4571954" y="1048393"/>
            <a:ext cx="0" cy="33832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6374458" y="2630423"/>
            <a:ext cx="944489" cy="30777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SHWK %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594513" y="2630423"/>
            <a:ext cx="1199367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All Adults %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4000" y="0"/>
            <a:ext cx="8646971" cy="457048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pPr defTabSz="685800">
              <a:spcBef>
                <a:spcPct val="0"/>
              </a:spcBef>
            </a:pPr>
            <a:r>
              <a:rPr lang="en-IE" sz="2000" b="1" cap="all" spc="-75" dirty="0">
                <a:solidFill>
                  <a:srgbClr val="7F7F7F"/>
                </a:solidFill>
                <a:ea typeface="+mj-ea"/>
                <a:cs typeface="+mj-cs"/>
              </a:rPr>
              <a:t>PT Market Share Cork &amp; Sales Hous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594513" y="597006"/>
            <a:ext cx="1199367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All Adults %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374458" y="597006"/>
            <a:ext cx="944489" cy="30777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SHWK %</a:t>
            </a:r>
          </a:p>
        </p:txBody>
      </p:sp>
      <p:sp>
        <p:nvSpPr>
          <p:cNvPr id="55" name="Rectangle 54"/>
          <p:cNvSpPr/>
          <p:nvPr/>
        </p:nvSpPr>
        <p:spPr>
          <a:xfrm>
            <a:off x="3659932" y="597006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Cork Station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3659932" y="2630423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Sales Hous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9CC5431-7929-42AF-9B8D-DF8E5E5E09A6}"/>
              </a:ext>
            </a:extLst>
          </p:cNvPr>
          <p:cNvSpPr txBox="1"/>
          <p:nvPr/>
        </p:nvSpPr>
        <p:spPr>
          <a:xfrm>
            <a:off x="5738069" y="993632"/>
            <a:ext cx="77541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algn="r"/>
            <a:r>
              <a:rPr lang="en-IE" sz="1000" b="1" dirty="0">
                <a:solidFill>
                  <a:srgbClr val="7F7F7F"/>
                </a:solidFill>
              </a:rPr>
              <a:t>Other</a:t>
            </a:r>
            <a:r>
              <a:rPr lang="en-IE" sz="1000" dirty="0">
                <a:solidFill>
                  <a:srgbClr val="7F7F7F"/>
                </a:solidFill>
              </a:rPr>
              <a:t> </a:t>
            </a:r>
          </a:p>
        </p:txBody>
      </p:sp>
      <p:cxnSp>
        <p:nvCxnSpPr>
          <p:cNvPr id="5" name="Straight Connector 35">
            <a:extLst>
              <a:ext uri="{FF2B5EF4-FFF2-40B4-BE49-F238E27FC236}">
                <a16:creationId xmlns:a16="http://schemas.microsoft.com/office/drawing/2014/main" id="{D72775B5-7864-BCB5-4460-A4B13E27924E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2054615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901F428-DEFD-E601-D697-169A40378E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24</a:t>
            </a:fld>
            <a:r>
              <a:rPr lang="en-GB" dirty="0"/>
              <a:t> </a:t>
            </a:r>
          </a:p>
        </p:txBody>
      </p:sp>
      <p:graphicFrame>
        <p:nvGraphicFramePr>
          <p:cNvPr id="9" name="Content Placeholder 11">
            <a:extLst>
              <a:ext uri="{FF2B5EF4-FFF2-40B4-BE49-F238E27FC236}">
                <a16:creationId xmlns:a16="http://schemas.microsoft.com/office/drawing/2014/main" id="{B0E289D4-EFE3-F42F-16ED-40B67CC25F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7913774"/>
              </p:ext>
            </p:extLst>
          </p:nvPr>
        </p:nvGraphicFramePr>
        <p:xfrm>
          <a:off x="4650509" y="669369"/>
          <a:ext cx="4392385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TextBox 24">
            <a:extLst>
              <a:ext uri="{FF2B5EF4-FFF2-40B4-BE49-F238E27FC236}">
                <a16:creationId xmlns:a16="http://schemas.microsoft.com/office/drawing/2014/main" id="{8F63DE42-6CE3-E9F9-AEA4-17F90FFA28EE}"/>
              </a:ext>
            </a:extLst>
          </p:cNvPr>
          <p:cNvSpPr txBox="1"/>
          <p:nvPr/>
        </p:nvSpPr>
        <p:spPr>
          <a:xfrm>
            <a:off x="3022712" y="1825000"/>
            <a:ext cx="96546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4763"/>
            <a:r>
              <a:rPr lang="en-IE" sz="1000" b="1" dirty="0">
                <a:solidFill>
                  <a:srgbClr val="7F7F7F"/>
                </a:solidFill>
              </a:rPr>
              <a:t>Cork’s 96FM</a:t>
            </a:r>
            <a:endParaRPr lang="en-IE" sz="1000" dirty="0">
              <a:solidFill>
                <a:srgbClr val="7F7F7F"/>
              </a:solidFill>
            </a:endParaRP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9C3B5B4C-14BB-5C09-D9A2-46B4177282ED}"/>
              </a:ext>
            </a:extLst>
          </p:cNvPr>
          <p:cNvSpPr txBox="1"/>
          <p:nvPr/>
        </p:nvSpPr>
        <p:spPr>
          <a:xfrm>
            <a:off x="2681192" y="2314408"/>
            <a:ext cx="96546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4763"/>
            <a:r>
              <a:rPr lang="en-IE" sz="1000" b="1" dirty="0">
                <a:solidFill>
                  <a:srgbClr val="7F7F7F"/>
                </a:solidFill>
              </a:rPr>
              <a:t>C103</a:t>
            </a:r>
            <a:endParaRPr lang="en-IE" sz="1000" dirty="0">
              <a:solidFill>
                <a:srgbClr val="7F7F7F"/>
              </a:solidFill>
            </a:endParaRP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D89DE444-F473-2B2A-B9ED-3C59A5C3091C}"/>
              </a:ext>
            </a:extLst>
          </p:cNvPr>
          <p:cNvSpPr txBox="1"/>
          <p:nvPr/>
        </p:nvSpPr>
        <p:spPr>
          <a:xfrm>
            <a:off x="1034172" y="1040830"/>
            <a:ext cx="96546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4763" algn="r"/>
            <a:r>
              <a:rPr lang="en-IE" sz="1000" b="1" dirty="0">
                <a:solidFill>
                  <a:srgbClr val="7F7F7F"/>
                </a:solidFill>
              </a:rPr>
              <a:t>Other</a:t>
            </a:r>
            <a:endParaRPr lang="en-IE" sz="1000" dirty="0">
              <a:solidFill>
                <a:srgbClr val="7F7F7F"/>
              </a:solidFill>
            </a:endParaRPr>
          </a:p>
        </p:txBody>
      </p:sp>
      <p:sp>
        <p:nvSpPr>
          <p:cNvPr id="12" name="TextBox 24">
            <a:extLst>
              <a:ext uri="{FF2B5EF4-FFF2-40B4-BE49-F238E27FC236}">
                <a16:creationId xmlns:a16="http://schemas.microsoft.com/office/drawing/2014/main" id="{B6033670-3636-89AD-C0AF-C687479B156A}"/>
              </a:ext>
            </a:extLst>
          </p:cNvPr>
          <p:cNvSpPr txBox="1"/>
          <p:nvPr/>
        </p:nvSpPr>
        <p:spPr>
          <a:xfrm>
            <a:off x="7439877" y="2094185"/>
            <a:ext cx="96546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4763"/>
            <a:r>
              <a:rPr lang="en-IE" sz="1000" b="1" dirty="0">
                <a:solidFill>
                  <a:srgbClr val="7F7F7F"/>
                </a:solidFill>
              </a:rPr>
              <a:t>Cork’s 96FM</a:t>
            </a:r>
            <a:endParaRPr lang="en-IE" sz="1000" dirty="0">
              <a:solidFill>
                <a:srgbClr val="7F7F7F"/>
              </a:solidFill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1CFFDF1D-E432-B1E1-C4A1-9B1D13982CA8}"/>
              </a:ext>
            </a:extLst>
          </p:cNvPr>
          <p:cNvSpPr txBox="1"/>
          <p:nvPr/>
        </p:nvSpPr>
        <p:spPr>
          <a:xfrm>
            <a:off x="5955404" y="2346433"/>
            <a:ext cx="96546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4763" algn="ctr"/>
            <a:r>
              <a:rPr lang="en-IE" sz="1000" b="1" dirty="0">
                <a:solidFill>
                  <a:srgbClr val="7F7F7F"/>
                </a:solidFill>
              </a:rPr>
              <a:t>C103</a:t>
            </a:r>
            <a:endParaRPr lang="en-IE" sz="1000" dirty="0">
              <a:solidFill>
                <a:srgbClr val="7F7F7F"/>
              </a:solidFill>
            </a:endParaRPr>
          </a:p>
        </p:txBody>
      </p:sp>
      <p:sp>
        <p:nvSpPr>
          <p:cNvPr id="22" name="TextBox 24">
            <a:extLst>
              <a:ext uri="{FF2B5EF4-FFF2-40B4-BE49-F238E27FC236}">
                <a16:creationId xmlns:a16="http://schemas.microsoft.com/office/drawing/2014/main" id="{48DD4611-6387-8204-95BB-7F65F755A897}"/>
              </a:ext>
            </a:extLst>
          </p:cNvPr>
          <p:cNvSpPr txBox="1"/>
          <p:nvPr/>
        </p:nvSpPr>
        <p:spPr>
          <a:xfrm>
            <a:off x="7592847" y="1365779"/>
            <a:ext cx="96546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4763"/>
            <a:r>
              <a:rPr lang="en-IE" sz="1000" b="1" dirty="0">
                <a:solidFill>
                  <a:srgbClr val="7F7F7F"/>
                </a:solidFill>
              </a:rPr>
              <a:t>Cork’s RED FM</a:t>
            </a:r>
            <a:endParaRPr lang="en-IE" sz="1000" dirty="0">
              <a:solidFill>
                <a:srgbClr val="7F7F7F"/>
              </a:solidFill>
            </a:endParaRPr>
          </a:p>
        </p:txBody>
      </p:sp>
      <p:sp>
        <p:nvSpPr>
          <p:cNvPr id="23" name="TextBox 24">
            <a:extLst>
              <a:ext uri="{FF2B5EF4-FFF2-40B4-BE49-F238E27FC236}">
                <a16:creationId xmlns:a16="http://schemas.microsoft.com/office/drawing/2014/main" id="{ADFD9903-7659-977F-36F0-3609F570302C}"/>
              </a:ext>
            </a:extLst>
          </p:cNvPr>
          <p:cNvSpPr txBox="1"/>
          <p:nvPr/>
        </p:nvSpPr>
        <p:spPr>
          <a:xfrm>
            <a:off x="5052021" y="1705882"/>
            <a:ext cx="96546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4763" algn="r"/>
            <a:r>
              <a:rPr lang="en-IE" sz="1000" b="1" dirty="0">
                <a:solidFill>
                  <a:srgbClr val="7F7F7F"/>
                </a:solidFill>
              </a:rPr>
              <a:t>National</a:t>
            </a:r>
            <a:endParaRPr lang="en-IE" sz="1000" dirty="0">
              <a:solidFill>
                <a:srgbClr val="7F7F7F"/>
              </a:solidFill>
            </a:endParaRP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0E1BAA50-4001-55BD-1C50-92A689333F8A}"/>
              </a:ext>
            </a:extLst>
          </p:cNvPr>
          <p:cNvSpPr txBox="1">
            <a:spLocks/>
          </p:cNvSpPr>
          <p:nvPr/>
        </p:nvSpPr>
        <p:spPr>
          <a:xfrm>
            <a:off x="224598" y="4581147"/>
            <a:ext cx="2143045" cy="184666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831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9A4A097F-F237-1F26-0AF9-0BE3980CEBCD}"/>
              </a:ext>
            </a:extLst>
          </p:cNvPr>
          <p:cNvSpPr txBox="1">
            <a:spLocks/>
          </p:cNvSpPr>
          <p:nvPr/>
        </p:nvSpPr>
        <p:spPr>
          <a:xfrm>
            <a:off x="4984094" y="4581147"/>
            <a:ext cx="2143045" cy="184666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28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AB8E7B8-B15B-B45B-7208-AFE818BD3884}"/>
              </a:ext>
            </a:extLst>
          </p:cNvPr>
          <p:cNvSpPr txBox="1"/>
          <p:nvPr/>
        </p:nvSpPr>
        <p:spPr>
          <a:xfrm>
            <a:off x="3309436" y="4833555"/>
            <a:ext cx="2552302" cy="9233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r"/>
            <a:r>
              <a:rPr lang="en-GB" sz="600" b="1" i="1" dirty="0">
                <a:solidFill>
                  <a:schemeClr val="accent2">
                    <a:lumMod val="75000"/>
                  </a:schemeClr>
                </a:solidFill>
              </a:rPr>
              <a:t>RTE definition 2025 has been updated to include Raidio na Gaeltachta</a:t>
            </a:r>
            <a:endParaRPr lang="en-IE" sz="6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199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11">
            <a:extLst>
              <a:ext uri="{FF2B5EF4-FFF2-40B4-BE49-F238E27FC236}">
                <a16:creationId xmlns:a16="http://schemas.microsoft.com/office/drawing/2014/main" id="{6BA39BD3-E3B0-225C-5A80-8CC4DB46154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36494533"/>
              </p:ext>
            </p:extLst>
          </p:nvPr>
        </p:nvGraphicFramePr>
        <p:xfrm>
          <a:off x="4650509" y="638054"/>
          <a:ext cx="4392385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11">
            <a:extLst>
              <a:ext uri="{FF2B5EF4-FFF2-40B4-BE49-F238E27FC236}">
                <a16:creationId xmlns:a16="http://schemas.microsoft.com/office/drawing/2014/main" id="{CA038ECC-9349-2A04-3BBD-17491701FE0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0181159"/>
              </p:ext>
            </p:extLst>
          </p:nvPr>
        </p:nvGraphicFramePr>
        <p:xfrm>
          <a:off x="4641081" y="2580821"/>
          <a:ext cx="4559577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ontent Placeholder 11">
            <a:extLst>
              <a:ext uri="{FF2B5EF4-FFF2-40B4-BE49-F238E27FC236}">
                <a16:creationId xmlns:a16="http://schemas.microsoft.com/office/drawing/2014/main" id="{3DE3F419-AC24-F7D5-F3BD-A9661AB3190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00788712"/>
              </p:ext>
            </p:extLst>
          </p:nvPr>
        </p:nvGraphicFramePr>
        <p:xfrm>
          <a:off x="20655" y="2588653"/>
          <a:ext cx="4559577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ontent Placeholder 11">
            <a:extLst>
              <a:ext uri="{FF2B5EF4-FFF2-40B4-BE49-F238E27FC236}">
                <a16:creationId xmlns:a16="http://schemas.microsoft.com/office/drawing/2014/main" id="{9A48AE9A-077A-7E91-EA36-BFF9844BC08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8533156"/>
              </p:ext>
            </p:extLst>
          </p:nvPr>
        </p:nvGraphicFramePr>
        <p:xfrm>
          <a:off x="104251" y="638054"/>
          <a:ext cx="4392385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F3CFEB4-6692-41B8-805C-FF890A07DDA7}"/>
              </a:ext>
            </a:extLst>
          </p:cNvPr>
          <p:cNvCxnSpPr>
            <a:cxnSpLocks/>
          </p:cNvCxnSpPr>
          <p:nvPr/>
        </p:nvCxnSpPr>
        <p:spPr>
          <a:xfrm flipV="1">
            <a:off x="4571954" y="1048393"/>
            <a:ext cx="0" cy="33832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6416936" y="2630423"/>
            <a:ext cx="859531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25-44 %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764432" y="2630423"/>
            <a:ext cx="859531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15-34 %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746" y="0"/>
            <a:ext cx="8646971" cy="457048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pPr defTabSz="685800">
              <a:spcBef>
                <a:spcPct val="0"/>
              </a:spcBef>
            </a:pPr>
            <a:r>
              <a:rPr lang="en-IE" sz="2000" b="1" cap="all" spc="-75" dirty="0">
                <a:solidFill>
                  <a:srgbClr val="7F7F7F"/>
                </a:solidFill>
                <a:ea typeface="+mj-ea"/>
                <a:cs typeface="+mj-cs"/>
              </a:rPr>
              <a:t>PT Market Share Cork &amp; Sales Hous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764432" y="597006"/>
            <a:ext cx="859531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15-34 %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416936" y="597006"/>
            <a:ext cx="859531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25-44 %</a:t>
            </a:r>
          </a:p>
        </p:txBody>
      </p:sp>
      <p:sp>
        <p:nvSpPr>
          <p:cNvPr id="55" name="Rectangle 54"/>
          <p:cNvSpPr/>
          <p:nvPr/>
        </p:nvSpPr>
        <p:spPr>
          <a:xfrm>
            <a:off x="3659932" y="597006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Cork Station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3659932" y="2630423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Sales House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087105" y="995912"/>
            <a:ext cx="41394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algn="r"/>
            <a:r>
              <a:rPr lang="en-IE" sz="1000" b="1" dirty="0">
                <a:solidFill>
                  <a:srgbClr val="7F7F7F"/>
                </a:solidFill>
              </a:rPr>
              <a:t>Othe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181BDBA-A12A-4CCE-9871-70136F4FEB67}"/>
              </a:ext>
            </a:extLst>
          </p:cNvPr>
          <p:cNvSpPr txBox="1"/>
          <p:nvPr/>
        </p:nvSpPr>
        <p:spPr>
          <a:xfrm>
            <a:off x="6921623" y="2329649"/>
            <a:ext cx="41394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algn="r"/>
            <a:r>
              <a:rPr lang="en-IE" sz="1000" b="1" dirty="0">
                <a:solidFill>
                  <a:srgbClr val="7F7F7F"/>
                </a:solidFill>
              </a:rPr>
              <a:t>C103</a:t>
            </a:r>
          </a:p>
        </p:txBody>
      </p:sp>
      <p:cxnSp>
        <p:nvCxnSpPr>
          <p:cNvPr id="5" name="Straight Connector 35">
            <a:extLst>
              <a:ext uri="{FF2B5EF4-FFF2-40B4-BE49-F238E27FC236}">
                <a16:creationId xmlns:a16="http://schemas.microsoft.com/office/drawing/2014/main" id="{0781DC35-C324-36BF-B684-930464862536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54490" y="-2054616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489DA51A-1595-935D-D6B8-4BD7BBFF10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25</a:t>
            </a:fld>
            <a:r>
              <a:rPr lang="en-GB" dirty="0"/>
              <a:t> 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FA3F42C4-B544-A174-B63F-2D4E3ABED564}"/>
              </a:ext>
            </a:extLst>
          </p:cNvPr>
          <p:cNvSpPr txBox="1"/>
          <p:nvPr/>
        </p:nvSpPr>
        <p:spPr>
          <a:xfrm>
            <a:off x="2972526" y="1369681"/>
            <a:ext cx="96546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4763"/>
            <a:r>
              <a:rPr lang="en-IE" sz="1000" b="1" dirty="0">
                <a:solidFill>
                  <a:srgbClr val="7F7F7F"/>
                </a:solidFill>
              </a:rPr>
              <a:t>Cork’s RED FM</a:t>
            </a:r>
            <a:endParaRPr lang="en-IE" sz="1000" dirty="0">
              <a:solidFill>
                <a:srgbClr val="7F7F7F"/>
              </a:solidFill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1E742AB-B3F8-3CCC-E7D1-7088D99EA7E7}"/>
              </a:ext>
            </a:extLst>
          </p:cNvPr>
          <p:cNvSpPr txBox="1">
            <a:spLocks/>
          </p:cNvSpPr>
          <p:nvPr/>
        </p:nvSpPr>
        <p:spPr>
          <a:xfrm>
            <a:off x="224598" y="4581147"/>
            <a:ext cx="2143045" cy="184666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224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1D1192F-7F1C-653F-33D6-470F8FF5D7C8}"/>
              </a:ext>
            </a:extLst>
          </p:cNvPr>
          <p:cNvSpPr txBox="1">
            <a:spLocks/>
          </p:cNvSpPr>
          <p:nvPr/>
        </p:nvSpPr>
        <p:spPr>
          <a:xfrm>
            <a:off x="4984094" y="4581147"/>
            <a:ext cx="2143045" cy="184666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260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717453C-E9F0-2BD4-6FD3-52C055AC717B}"/>
              </a:ext>
            </a:extLst>
          </p:cNvPr>
          <p:cNvSpPr txBox="1"/>
          <p:nvPr/>
        </p:nvSpPr>
        <p:spPr>
          <a:xfrm>
            <a:off x="3213417" y="4802858"/>
            <a:ext cx="2552302" cy="9233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r"/>
            <a:r>
              <a:rPr lang="en-GB" sz="600" b="1" i="1" dirty="0">
                <a:solidFill>
                  <a:schemeClr val="accent2">
                    <a:lumMod val="75000"/>
                  </a:schemeClr>
                </a:solidFill>
              </a:rPr>
              <a:t>RTE definition 2025 has been updated to include Raidio na Gaeltachta</a:t>
            </a:r>
            <a:endParaRPr lang="en-IE" sz="6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53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11">
            <a:extLst>
              <a:ext uri="{FF2B5EF4-FFF2-40B4-BE49-F238E27FC236}">
                <a16:creationId xmlns:a16="http://schemas.microsoft.com/office/drawing/2014/main" id="{93A3D83E-E06F-AADE-89AA-79D239C49D9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5017248"/>
              </p:ext>
            </p:extLst>
          </p:nvPr>
        </p:nvGraphicFramePr>
        <p:xfrm>
          <a:off x="4650509" y="638054"/>
          <a:ext cx="4392385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11">
            <a:extLst>
              <a:ext uri="{FF2B5EF4-FFF2-40B4-BE49-F238E27FC236}">
                <a16:creationId xmlns:a16="http://schemas.microsoft.com/office/drawing/2014/main" id="{39CC6663-D45B-D5D6-4464-883C84CA042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0196538"/>
              </p:ext>
            </p:extLst>
          </p:nvPr>
        </p:nvGraphicFramePr>
        <p:xfrm>
          <a:off x="4641081" y="2580821"/>
          <a:ext cx="4559577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ontent Placeholder 11">
            <a:extLst>
              <a:ext uri="{FF2B5EF4-FFF2-40B4-BE49-F238E27FC236}">
                <a16:creationId xmlns:a16="http://schemas.microsoft.com/office/drawing/2014/main" id="{3487797F-2CC4-ABF3-8F5F-2FD450007F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8874556"/>
              </p:ext>
            </p:extLst>
          </p:nvPr>
        </p:nvGraphicFramePr>
        <p:xfrm>
          <a:off x="20655" y="2588653"/>
          <a:ext cx="4559577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ontent Placeholder 11">
            <a:extLst>
              <a:ext uri="{FF2B5EF4-FFF2-40B4-BE49-F238E27FC236}">
                <a16:creationId xmlns:a16="http://schemas.microsoft.com/office/drawing/2014/main" id="{31BA1268-FFD2-69E4-616A-B4601FDA92D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56966425"/>
              </p:ext>
            </p:extLst>
          </p:nvPr>
        </p:nvGraphicFramePr>
        <p:xfrm>
          <a:off x="104251" y="638054"/>
          <a:ext cx="4392385" cy="2359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34" name="Straight Connector 35">
            <a:extLst>
              <a:ext uri="{FF2B5EF4-FFF2-40B4-BE49-F238E27FC236}">
                <a16:creationId xmlns:a16="http://schemas.microsoft.com/office/drawing/2014/main" id="{161B3A6B-D11C-4826-88A3-DAFD202E9580}"/>
              </a:ext>
            </a:extLst>
          </p:cNvPr>
          <p:cNvCxnSpPr>
            <a:cxnSpLocks/>
          </p:cNvCxnSpPr>
          <p:nvPr/>
        </p:nvCxnSpPr>
        <p:spPr>
          <a:xfrm flipV="1">
            <a:off x="4571954" y="1048393"/>
            <a:ext cx="0" cy="33832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4000" y="0"/>
            <a:ext cx="8646971" cy="457048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pPr defTabSz="685800">
              <a:spcBef>
                <a:spcPct val="0"/>
              </a:spcBef>
            </a:pPr>
            <a:r>
              <a:rPr lang="en-IE" sz="2000" b="1" cap="all" spc="-75" dirty="0">
                <a:solidFill>
                  <a:srgbClr val="7F7F7F"/>
                </a:solidFill>
                <a:ea typeface="+mj-ea"/>
                <a:cs typeface="+mj-cs"/>
              </a:rPr>
              <a:t>PT Market Share Cork &amp; Sales Hous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764431" y="597006"/>
            <a:ext cx="859531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35-54 %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501094" y="597006"/>
            <a:ext cx="691216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GB" dirty="0"/>
              <a:t>45+ %</a:t>
            </a:r>
          </a:p>
        </p:txBody>
      </p:sp>
      <p:sp>
        <p:nvSpPr>
          <p:cNvPr id="55" name="Rectangle 54"/>
          <p:cNvSpPr/>
          <p:nvPr/>
        </p:nvSpPr>
        <p:spPr>
          <a:xfrm>
            <a:off x="3659932" y="597006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Cork Station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3659932" y="2630423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Sales Hous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764431" y="2630423"/>
            <a:ext cx="859531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35-54 %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501094" y="2630423"/>
            <a:ext cx="691216" cy="33855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45+ %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223187" y="969415"/>
            <a:ext cx="41394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algn="r"/>
            <a:r>
              <a:rPr lang="en-IE" sz="1000" b="1" dirty="0">
                <a:solidFill>
                  <a:srgbClr val="7F7F7F"/>
                </a:solidFill>
              </a:rPr>
              <a:t>Other</a:t>
            </a:r>
          </a:p>
        </p:txBody>
      </p:sp>
      <p:cxnSp>
        <p:nvCxnSpPr>
          <p:cNvPr id="5" name="Straight Connector 35">
            <a:extLst>
              <a:ext uri="{FF2B5EF4-FFF2-40B4-BE49-F238E27FC236}">
                <a16:creationId xmlns:a16="http://schemas.microsoft.com/office/drawing/2014/main" id="{C628C5DB-E4F4-0FDB-F5B8-1EE73EEDAAD4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2054615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E7CA81F7-DFA6-715A-A81E-E4DA4E3BE1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26</a:t>
            </a:fld>
            <a:r>
              <a:rPr lang="en-GB" dirty="0"/>
              <a:t> 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11AD0F6F-0337-19CB-EA97-2145E350674A}"/>
              </a:ext>
            </a:extLst>
          </p:cNvPr>
          <p:cNvSpPr txBox="1"/>
          <p:nvPr/>
        </p:nvSpPr>
        <p:spPr>
          <a:xfrm>
            <a:off x="2955593" y="1234724"/>
            <a:ext cx="96546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4763"/>
            <a:r>
              <a:rPr lang="en-IE" sz="1000" b="1" dirty="0">
                <a:solidFill>
                  <a:srgbClr val="7F7F7F"/>
                </a:solidFill>
              </a:rPr>
              <a:t>Cork’s RED FM</a:t>
            </a:r>
            <a:endParaRPr lang="en-IE" sz="1000" dirty="0">
              <a:solidFill>
                <a:srgbClr val="7F7F7F"/>
              </a:solidFill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6366462-E584-D10E-E0F6-076196EE6D93}"/>
              </a:ext>
            </a:extLst>
          </p:cNvPr>
          <p:cNvSpPr txBox="1">
            <a:spLocks/>
          </p:cNvSpPr>
          <p:nvPr/>
        </p:nvSpPr>
        <p:spPr>
          <a:xfrm>
            <a:off x="224598" y="4581147"/>
            <a:ext cx="2143045" cy="184666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295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B71639C-5CF1-2831-9A70-C280C032F247}"/>
              </a:ext>
            </a:extLst>
          </p:cNvPr>
          <p:cNvSpPr txBox="1">
            <a:spLocks/>
          </p:cNvSpPr>
          <p:nvPr/>
        </p:nvSpPr>
        <p:spPr>
          <a:xfrm>
            <a:off x="4984094" y="4581147"/>
            <a:ext cx="2143045" cy="184666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453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BA68018-4542-A166-7F16-9BB0F1151008}"/>
              </a:ext>
            </a:extLst>
          </p:cNvPr>
          <p:cNvSpPr txBox="1"/>
          <p:nvPr/>
        </p:nvSpPr>
        <p:spPr>
          <a:xfrm>
            <a:off x="3155563" y="4803930"/>
            <a:ext cx="2552302" cy="9233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r"/>
            <a:r>
              <a:rPr lang="en-GB" sz="600" b="1" i="1" dirty="0">
                <a:solidFill>
                  <a:schemeClr val="accent2">
                    <a:lumMod val="75000"/>
                  </a:schemeClr>
                </a:solidFill>
              </a:rPr>
              <a:t>RTE definition 2025 has been updated to include Raidio na Gaeltachta</a:t>
            </a:r>
            <a:endParaRPr lang="en-IE" sz="6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867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b="1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12DC261-7BF3-FBEA-0040-AA955D698F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998E8802-F6A2-8FC3-0FDB-47A04CC1D5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27</a:t>
            </a:fld>
            <a:r>
              <a:rPr lang="en-GB" dirty="0"/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CC4B6D5-6C1D-2EE3-0AE2-4D3974AD5886}"/>
              </a:ext>
            </a:extLst>
          </p:cNvPr>
          <p:cNvSpPr txBox="1"/>
          <p:nvPr/>
        </p:nvSpPr>
        <p:spPr>
          <a:xfrm>
            <a:off x="5783741" y="2104733"/>
            <a:ext cx="1734770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/>
            <a:r>
              <a:rPr lang="en-IE" sz="3200" b="1" dirty="0">
                <a:solidFill>
                  <a:schemeClr val="bg1"/>
                </a:solidFill>
              </a:rPr>
              <a:t>Regional</a:t>
            </a:r>
          </a:p>
        </p:txBody>
      </p:sp>
    </p:spTree>
    <p:extLst>
      <p:ext uri="{BB962C8B-B14F-4D97-AF65-F5344CB8AC3E}">
        <p14:creationId xmlns:p14="http://schemas.microsoft.com/office/powerpoint/2010/main" val="401592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000" y="0"/>
            <a:ext cx="8646971" cy="443198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pPr defTabSz="685800">
              <a:spcBef>
                <a:spcPct val="0"/>
              </a:spcBef>
            </a:pPr>
            <a:r>
              <a:rPr lang="en-IE" sz="2000" b="1" cap="all" spc="-75" dirty="0">
                <a:solidFill>
                  <a:srgbClr val="7F7F7F"/>
                </a:solidFill>
                <a:ea typeface="+mj-ea"/>
                <a:cs typeface="+mj-cs"/>
              </a:rPr>
              <a:t>Weekly Reach – Regional</a:t>
            </a:r>
            <a:endParaRPr lang="en-GB" sz="2000" b="1" cap="all" spc="-75" dirty="0">
              <a:solidFill>
                <a:srgbClr val="7F7F7F"/>
              </a:solidFill>
              <a:ea typeface="+mj-ea"/>
              <a:cs typeface="+mj-cs"/>
            </a:endParaRPr>
          </a:p>
        </p:txBody>
      </p:sp>
      <p:graphicFrame>
        <p:nvGraphicFramePr>
          <p:cNvPr id="15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4630193"/>
              </p:ext>
            </p:extLst>
          </p:nvPr>
        </p:nvGraphicFramePr>
        <p:xfrm>
          <a:off x="270667" y="1480795"/>
          <a:ext cx="8602666" cy="2231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0" name="Rectangle 29"/>
          <p:cNvSpPr/>
          <p:nvPr/>
        </p:nvSpPr>
        <p:spPr>
          <a:xfrm>
            <a:off x="3659932" y="941653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All Adults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0362516"/>
              </p:ext>
            </p:extLst>
          </p:nvPr>
        </p:nvGraphicFramePr>
        <p:xfrm>
          <a:off x="532781" y="3930739"/>
          <a:ext cx="8145708" cy="365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57618">
                  <a:extLst>
                    <a:ext uri="{9D8B030D-6E8A-4147-A177-3AD203B41FA5}">
                      <a16:colId xmlns:a16="http://schemas.microsoft.com/office/drawing/2014/main" val="2771843297"/>
                    </a:ext>
                  </a:extLst>
                </a:gridCol>
                <a:gridCol w="1357618">
                  <a:extLst>
                    <a:ext uri="{9D8B030D-6E8A-4147-A177-3AD203B41FA5}">
                      <a16:colId xmlns:a16="http://schemas.microsoft.com/office/drawing/2014/main" val="3376202726"/>
                    </a:ext>
                  </a:extLst>
                </a:gridCol>
                <a:gridCol w="1357618">
                  <a:extLst>
                    <a:ext uri="{9D8B030D-6E8A-4147-A177-3AD203B41FA5}">
                      <a16:colId xmlns:a16="http://schemas.microsoft.com/office/drawing/2014/main" val="1285681004"/>
                    </a:ext>
                  </a:extLst>
                </a:gridCol>
                <a:gridCol w="1357618">
                  <a:extLst>
                    <a:ext uri="{9D8B030D-6E8A-4147-A177-3AD203B41FA5}">
                      <a16:colId xmlns:a16="http://schemas.microsoft.com/office/drawing/2014/main" val="303154505"/>
                    </a:ext>
                  </a:extLst>
                </a:gridCol>
                <a:gridCol w="1357618">
                  <a:extLst>
                    <a:ext uri="{9D8B030D-6E8A-4147-A177-3AD203B41FA5}">
                      <a16:colId xmlns:a16="http://schemas.microsoft.com/office/drawing/2014/main" val="1614092248"/>
                    </a:ext>
                  </a:extLst>
                </a:gridCol>
                <a:gridCol w="1357618">
                  <a:extLst>
                    <a:ext uri="{9D8B030D-6E8A-4147-A177-3AD203B41FA5}">
                      <a16:colId xmlns:a16="http://schemas.microsoft.com/office/drawing/2014/main" val="1279956011"/>
                    </a:ext>
                  </a:extLst>
                </a:gridCol>
              </a:tblGrid>
              <a:tr h="252136">
                <a:tc>
                  <a:txBody>
                    <a:bodyPr/>
                    <a:lstStyle/>
                    <a:p>
                      <a:pPr algn="ctr"/>
                      <a:r>
                        <a:rPr lang="en-IE" sz="900" b="1" dirty="0">
                          <a:solidFill>
                            <a:srgbClr val="7F7F7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iverse: 2,595</a:t>
                      </a:r>
                    </a:p>
                    <a:p>
                      <a:pPr algn="ctr"/>
                      <a:r>
                        <a:rPr lang="en-IE" sz="900" b="1" dirty="0">
                          <a:solidFill>
                            <a:srgbClr val="7F7F7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mple: 6,1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E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iverse: 1,561</a:t>
                      </a:r>
                    </a:p>
                    <a:p>
                      <a:pPr marL="0" marR="0" lvl="0" indent="0" algn="ctr" defTabSz="9242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E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ample: 3,68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E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iverse: 2,379</a:t>
                      </a:r>
                    </a:p>
                    <a:p>
                      <a:pPr marL="0" marR="0" lvl="0" indent="0" algn="ctr" defTabSz="9242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E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ample: 68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E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iverse: 469</a:t>
                      </a:r>
                    </a:p>
                    <a:p>
                      <a:pPr marL="0" marR="0" lvl="0" indent="0" algn="ctr" defTabSz="9242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E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ample: 1,8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E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iverse: 845</a:t>
                      </a:r>
                    </a:p>
                    <a:p>
                      <a:pPr marL="0" marR="0" lvl="0" indent="0" algn="ctr" defTabSz="9242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E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ample: 1,9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E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iverse: 504</a:t>
                      </a:r>
                    </a:p>
                    <a:p>
                      <a:pPr marL="0" marR="0" lvl="0" indent="0" algn="ctr" defTabSz="9242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E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ample: 1,8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9812510"/>
                  </a:ext>
                </a:extLst>
              </a:tr>
            </a:tbl>
          </a:graphicData>
        </a:graphic>
      </p:graphicFrame>
      <p:sp>
        <p:nvSpPr>
          <p:cNvPr id="3" name="Slide Number">
            <a:extLst>
              <a:ext uri="{FF2B5EF4-FFF2-40B4-BE49-F238E27FC236}">
                <a16:creationId xmlns:a16="http://schemas.microsoft.com/office/drawing/2014/main" id="{A7D1DF41-D89C-DC8B-31C0-9C919383BF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28</a:t>
            </a:fld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5508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55195491"/>
              </p:ext>
            </p:extLst>
          </p:nvPr>
        </p:nvGraphicFramePr>
        <p:xfrm>
          <a:off x="389138" y="2799474"/>
          <a:ext cx="2315355" cy="1758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4000" y="87113"/>
            <a:ext cx="8646971" cy="369332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pPr defTabSz="685800">
              <a:spcBef>
                <a:spcPct val="0"/>
              </a:spcBef>
            </a:pPr>
            <a:r>
              <a:rPr lang="en-IE" sz="2000" b="1" cap="all" spc="-75" dirty="0">
                <a:solidFill>
                  <a:srgbClr val="7F7F7F"/>
                </a:solidFill>
                <a:ea typeface="+mj-ea"/>
                <a:cs typeface="+mj-cs"/>
              </a:rPr>
              <a:t>PT Market Share Regional – 2025-3</a:t>
            </a:r>
          </a:p>
        </p:txBody>
      </p:sp>
      <p:sp>
        <p:nvSpPr>
          <p:cNvPr id="55" name="Rectangle 54"/>
          <p:cNvSpPr/>
          <p:nvPr/>
        </p:nvSpPr>
        <p:spPr>
          <a:xfrm>
            <a:off x="3659932" y="642726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All Adults</a:t>
            </a:r>
          </a:p>
        </p:txBody>
      </p:sp>
      <p:graphicFrame>
        <p:nvGraphicFramePr>
          <p:cNvPr id="42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887653"/>
              </p:ext>
            </p:extLst>
          </p:nvPr>
        </p:nvGraphicFramePr>
        <p:xfrm>
          <a:off x="389138" y="1037039"/>
          <a:ext cx="2315355" cy="1758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3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6027479"/>
              </p:ext>
            </p:extLst>
          </p:nvPr>
        </p:nvGraphicFramePr>
        <p:xfrm>
          <a:off x="6507351" y="1037039"/>
          <a:ext cx="2315355" cy="1758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4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8909284"/>
              </p:ext>
            </p:extLst>
          </p:nvPr>
        </p:nvGraphicFramePr>
        <p:xfrm>
          <a:off x="3414323" y="2799474"/>
          <a:ext cx="2315355" cy="1758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5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85199727"/>
              </p:ext>
            </p:extLst>
          </p:nvPr>
        </p:nvGraphicFramePr>
        <p:xfrm>
          <a:off x="6507351" y="2799474"/>
          <a:ext cx="2315355" cy="1758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7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38022200"/>
              </p:ext>
            </p:extLst>
          </p:nvPr>
        </p:nvGraphicFramePr>
        <p:xfrm>
          <a:off x="3414323" y="1037039"/>
          <a:ext cx="2315355" cy="1758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10" name="Straight Connector 35">
            <a:extLst>
              <a:ext uri="{FF2B5EF4-FFF2-40B4-BE49-F238E27FC236}">
                <a16:creationId xmlns:a16="http://schemas.microsoft.com/office/drawing/2014/main" id="{E6A302B2-18CC-4214-A5C3-70B9614B154D}"/>
              </a:ext>
            </a:extLst>
          </p:cNvPr>
          <p:cNvCxnSpPr>
            <a:cxnSpLocks/>
          </p:cNvCxnSpPr>
          <p:nvPr/>
        </p:nvCxnSpPr>
        <p:spPr>
          <a:xfrm flipV="1">
            <a:off x="2976880" y="560070"/>
            <a:ext cx="0" cy="420624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8A86031A-322E-4A63-A41E-6326A8BA520E}"/>
              </a:ext>
            </a:extLst>
          </p:cNvPr>
          <p:cNvCxnSpPr>
            <a:cxnSpLocks/>
          </p:cNvCxnSpPr>
          <p:nvPr/>
        </p:nvCxnSpPr>
        <p:spPr>
          <a:xfrm flipV="1">
            <a:off x="6055360" y="560070"/>
            <a:ext cx="0" cy="420624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5">
            <a:extLst>
              <a:ext uri="{FF2B5EF4-FFF2-40B4-BE49-F238E27FC236}">
                <a16:creationId xmlns:a16="http://schemas.microsoft.com/office/drawing/2014/main" id="{470508FE-AC9C-6634-9E62-90658164BD79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1797832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56ED9F1D-F14F-7DD3-7E2C-4D0EC6745B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29</a:t>
            </a:fld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950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b="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>
            <a:extLst>
              <a:ext uri="{FF2B5EF4-FFF2-40B4-BE49-F238E27FC236}">
                <a16:creationId xmlns:a16="http://schemas.microsoft.com/office/drawing/2014/main" id="{BB90439B-8323-EE45-80C6-2A7685732B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3</a:t>
            </a:fld>
            <a:r>
              <a:rPr lang="en-GB" dirty="0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FB4EF24-F8FC-4402-6DAD-8232F2FB144E}"/>
              </a:ext>
            </a:extLst>
          </p:cNvPr>
          <p:cNvSpPr txBox="1"/>
          <p:nvPr/>
        </p:nvSpPr>
        <p:spPr>
          <a:xfrm>
            <a:off x="5435082" y="2104733"/>
            <a:ext cx="2432076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/>
            <a:r>
              <a:rPr lang="en-IE" sz="3200" b="1" dirty="0">
                <a:solidFill>
                  <a:schemeClr val="bg1"/>
                </a:solidFill>
              </a:rPr>
              <a:t>Radio Today</a:t>
            </a:r>
          </a:p>
        </p:txBody>
      </p:sp>
    </p:spTree>
    <p:extLst>
      <p:ext uri="{BB962C8B-B14F-4D97-AF65-F5344CB8AC3E}">
        <p14:creationId xmlns:p14="http://schemas.microsoft.com/office/powerpoint/2010/main" val="3310518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b="1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DB58C05-FCD8-5617-B3A9-455D8A9F6D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B8E0ACF6-6241-0AC4-8C6F-989AA86475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30</a:t>
            </a:fld>
            <a:r>
              <a:rPr lang="en-GB" dirty="0"/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9D4BE5B-EA03-143E-8B6F-9D2219C1CFC0}"/>
              </a:ext>
            </a:extLst>
          </p:cNvPr>
          <p:cNvSpPr txBox="1"/>
          <p:nvPr/>
        </p:nvSpPr>
        <p:spPr>
          <a:xfrm>
            <a:off x="5551721" y="2104733"/>
            <a:ext cx="2198808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/>
            <a:r>
              <a:rPr lang="en-IE" sz="3200" b="1" dirty="0">
                <a:solidFill>
                  <a:schemeClr val="bg1"/>
                </a:solidFill>
              </a:rPr>
              <a:t>Local Area </a:t>
            </a:r>
          </a:p>
        </p:txBody>
      </p:sp>
    </p:spTree>
    <p:extLst>
      <p:ext uri="{BB962C8B-B14F-4D97-AF65-F5344CB8AC3E}">
        <p14:creationId xmlns:p14="http://schemas.microsoft.com/office/powerpoint/2010/main" val="2263757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000" y="0"/>
            <a:ext cx="8646971" cy="443198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pPr defTabSz="685800">
              <a:spcBef>
                <a:spcPct val="0"/>
              </a:spcBef>
            </a:pPr>
            <a:r>
              <a:rPr lang="en-IE" sz="2000" b="1" cap="all" spc="-75" dirty="0">
                <a:solidFill>
                  <a:srgbClr val="7F7F7F"/>
                </a:solidFill>
                <a:ea typeface="+mj-ea"/>
                <a:cs typeface="+mj-cs"/>
              </a:rPr>
              <a:t>Weekly Reach – Local Areas </a:t>
            </a:r>
            <a:endParaRPr lang="en-GB" sz="2000" b="1" cap="all" spc="-75" dirty="0">
              <a:solidFill>
                <a:srgbClr val="7F7F7F"/>
              </a:solidFill>
              <a:ea typeface="+mj-ea"/>
              <a:cs typeface="+mj-cs"/>
            </a:endParaRPr>
          </a:p>
        </p:txBody>
      </p:sp>
      <p:graphicFrame>
        <p:nvGraphicFramePr>
          <p:cNvPr id="15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6212445"/>
              </p:ext>
            </p:extLst>
          </p:nvPr>
        </p:nvGraphicFramePr>
        <p:xfrm>
          <a:off x="270667" y="953734"/>
          <a:ext cx="8602666" cy="14570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0" name="Rectangle 29"/>
          <p:cNvSpPr/>
          <p:nvPr/>
        </p:nvSpPr>
        <p:spPr>
          <a:xfrm>
            <a:off x="3659932" y="612469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All Adults</a:t>
            </a:r>
          </a:p>
        </p:txBody>
      </p:sp>
      <p:graphicFrame>
        <p:nvGraphicFramePr>
          <p:cNvPr id="7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57777656"/>
              </p:ext>
            </p:extLst>
          </p:nvPr>
        </p:nvGraphicFramePr>
        <p:xfrm>
          <a:off x="256152" y="2712553"/>
          <a:ext cx="8602666" cy="14570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3" name="Straight Connector 35">
            <a:extLst>
              <a:ext uri="{FF2B5EF4-FFF2-40B4-BE49-F238E27FC236}">
                <a16:creationId xmlns:a16="http://schemas.microsoft.com/office/drawing/2014/main" id="{BBDB85B5-48D9-824C-E445-525B1624AF31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1641257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36A85F23-7D10-98CD-6729-45C94777BB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31</a:t>
            </a:fld>
            <a:r>
              <a:rPr lang="en-GB" dirty="0"/>
              <a:t>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ED6B4F9-EA8D-C192-98E0-F591A9CBB3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2375800"/>
              </p:ext>
            </p:extLst>
          </p:nvPr>
        </p:nvGraphicFramePr>
        <p:xfrm>
          <a:off x="642570" y="2493457"/>
          <a:ext cx="8216244" cy="27037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56458">
                  <a:extLst>
                    <a:ext uri="{9D8B030D-6E8A-4147-A177-3AD203B41FA5}">
                      <a16:colId xmlns:a16="http://schemas.microsoft.com/office/drawing/2014/main" val="2493736131"/>
                    </a:ext>
                  </a:extLst>
                </a:gridCol>
                <a:gridCol w="456458">
                  <a:extLst>
                    <a:ext uri="{9D8B030D-6E8A-4147-A177-3AD203B41FA5}">
                      <a16:colId xmlns:a16="http://schemas.microsoft.com/office/drawing/2014/main" val="3496372413"/>
                    </a:ext>
                  </a:extLst>
                </a:gridCol>
                <a:gridCol w="456458">
                  <a:extLst>
                    <a:ext uri="{9D8B030D-6E8A-4147-A177-3AD203B41FA5}">
                      <a16:colId xmlns:a16="http://schemas.microsoft.com/office/drawing/2014/main" val="483921228"/>
                    </a:ext>
                  </a:extLst>
                </a:gridCol>
                <a:gridCol w="456458">
                  <a:extLst>
                    <a:ext uri="{9D8B030D-6E8A-4147-A177-3AD203B41FA5}">
                      <a16:colId xmlns:a16="http://schemas.microsoft.com/office/drawing/2014/main" val="3384667750"/>
                    </a:ext>
                  </a:extLst>
                </a:gridCol>
                <a:gridCol w="456458">
                  <a:extLst>
                    <a:ext uri="{9D8B030D-6E8A-4147-A177-3AD203B41FA5}">
                      <a16:colId xmlns:a16="http://schemas.microsoft.com/office/drawing/2014/main" val="387427131"/>
                    </a:ext>
                  </a:extLst>
                </a:gridCol>
                <a:gridCol w="456458">
                  <a:extLst>
                    <a:ext uri="{9D8B030D-6E8A-4147-A177-3AD203B41FA5}">
                      <a16:colId xmlns:a16="http://schemas.microsoft.com/office/drawing/2014/main" val="4294147447"/>
                    </a:ext>
                  </a:extLst>
                </a:gridCol>
                <a:gridCol w="456458">
                  <a:extLst>
                    <a:ext uri="{9D8B030D-6E8A-4147-A177-3AD203B41FA5}">
                      <a16:colId xmlns:a16="http://schemas.microsoft.com/office/drawing/2014/main" val="1906298748"/>
                    </a:ext>
                  </a:extLst>
                </a:gridCol>
                <a:gridCol w="456458">
                  <a:extLst>
                    <a:ext uri="{9D8B030D-6E8A-4147-A177-3AD203B41FA5}">
                      <a16:colId xmlns:a16="http://schemas.microsoft.com/office/drawing/2014/main" val="3735828090"/>
                    </a:ext>
                  </a:extLst>
                </a:gridCol>
                <a:gridCol w="456458">
                  <a:extLst>
                    <a:ext uri="{9D8B030D-6E8A-4147-A177-3AD203B41FA5}">
                      <a16:colId xmlns:a16="http://schemas.microsoft.com/office/drawing/2014/main" val="3274511770"/>
                    </a:ext>
                  </a:extLst>
                </a:gridCol>
                <a:gridCol w="456458">
                  <a:extLst>
                    <a:ext uri="{9D8B030D-6E8A-4147-A177-3AD203B41FA5}">
                      <a16:colId xmlns:a16="http://schemas.microsoft.com/office/drawing/2014/main" val="101947694"/>
                    </a:ext>
                  </a:extLst>
                </a:gridCol>
                <a:gridCol w="456458">
                  <a:extLst>
                    <a:ext uri="{9D8B030D-6E8A-4147-A177-3AD203B41FA5}">
                      <a16:colId xmlns:a16="http://schemas.microsoft.com/office/drawing/2014/main" val="76329160"/>
                    </a:ext>
                  </a:extLst>
                </a:gridCol>
                <a:gridCol w="456458">
                  <a:extLst>
                    <a:ext uri="{9D8B030D-6E8A-4147-A177-3AD203B41FA5}">
                      <a16:colId xmlns:a16="http://schemas.microsoft.com/office/drawing/2014/main" val="3017764895"/>
                    </a:ext>
                  </a:extLst>
                </a:gridCol>
                <a:gridCol w="456458">
                  <a:extLst>
                    <a:ext uri="{9D8B030D-6E8A-4147-A177-3AD203B41FA5}">
                      <a16:colId xmlns:a16="http://schemas.microsoft.com/office/drawing/2014/main" val="720087386"/>
                    </a:ext>
                  </a:extLst>
                </a:gridCol>
                <a:gridCol w="456458">
                  <a:extLst>
                    <a:ext uri="{9D8B030D-6E8A-4147-A177-3AD203B41FA5}">
                      <a16:colId xmlns:a16="http://schemas.microsoft.com/office/drawing/2014/main" val="2516777633"/>
                    </a:ext>
                  </a:extLst>
                </a:gridCol>
                <a:gridCol w="456458">
                  <a:extLst>
                    <a:ext uri="{9D8B030D-6E8A-4147-A177-3AD203B41FA5}">
                      <a16:colId xmlns:a16="http://schemas.microsoft.com/office/drawing/2014/main" val="47843144"/>
                    </a:ext>
                  </a:extLst>
                </a:gridCol>
                <a:gridCol w="456458">
                  <a:extLst>
                    <a:ext uri="{9D8B030D-6E8A-4147-A177-3AD203B41FA5}">
                      <a16:colId xmlns:a16="http://schemas.microsoft.com/office/drawing/2014/main" val="3885515989"/>
                    </a:ext>
                  </a:extLst>
                </a:gridCol>
                <a:gridCol w="456458">
                  <a:extLst>
                    <a:ext uri="{9D8B030D-6E8A-4147-A177-3AD203B41FA5}">
                      <a16:colId xmlns:a16="http://schemas.microsoft.com/office/drawing/2014/main" val="1088794366"/>
                    </a:ext>
                  </a:extLst>
                </a:gridCol>
                <a:gridCol w="456458">
                  <a:extLst>
                    <a:ext uri="{9D8B030D-6E8A-4147-A177-3AD203B41FA5}">
                      <a16:colId xmlns:a16="http://schemas.microsoft.com/office/drawing/2014/main" val="3190839091"/>
                    </a:ext>
                  </a:extLst>
                </a:gridCol>
              </a:tblGrid>
              <a:tr h="135186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Uni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239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Uni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293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Uni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231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Uni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184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Uni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117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Uni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119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Uni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138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Uni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120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Uni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146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extLst>
                  <a:ext uri="{0D108BD9-81ED-4DB2-BD59-A6C34878D82A}">
                    <a16:rowId xmlns:a16="http://schemas.microsoft.com/office/drawing/2014/main" val="1910127584"/>
                  </a:ext>
                </a:extLst>
              </a:tr>
              <a:tr h="135186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Sample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483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Sample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481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Sample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483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Sample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483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Sample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474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Sample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483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Sample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501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Sample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473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Sample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813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07" marR="5007" marT="5007" marB="0" anchor="b"/>
                </a:tc>
                <a:extLst>
                  <a:ext uri="{0D108BD9-81ED-4DB2-BD59-A6C34878D82A}">
                    <a16:rowId xmlns:a16="http://schemas.microsoft.com/office/drawing/2014/main" val="2326221510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6E2AE50-379E-83DD-AA2E-E0E19CC8B2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3042675"/>
              </p:ext>
            </p:extLst>
          </p:nvPr>
        </p:nvGraphicFramePr>
        <p:xfrm>
          <a:off x="626387" y="4240050"/>
          <a:ext cx="8220464" cy="304168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513779">
                  <a:extLst>
                    <a:ext uri="{9D8B030D-6E8A-4147-A177-3AD203B41FA5}">
                      <a16:colId xmlns:a16="http://schemas.microsoft.com/office/drawing/2014/main" val="2692268132"/>
                    </a:ext>
                  </a:extLst>
                </a:gridCol>
                <a:gridCol w="513779">
                  <a:extLst>
                    <a:ext uri="{9D8B030D-6E8A-4147-A177-3AD203B41FA5}">
                      <a16:colId xmlns:a16="http://schemas.microsoft.com/office/drawing/2014/main" val="2826519137"/>
                    </a:ext>
                  </a:extLst>
                </a:gridCol>
                <a:gridCol w="513779">
                  <a:extLst>
                    <a:ext uri="{9D8B030D-6E8A-4147-A177-3AD203B41FA5}">
                      <a16:colId xmlns:a16="http://schemas.microsoft.com/office/drawing/2014/main" val="134344859"/>
                    </a:ext>
                  </a:extLst>
                </a:gridCol>
                <a:gridCol w="513779">
                  <a:extLst>
                    <a:ext uri="{9D8B030D-6E8A-4147-A177-3AD203B41FA5}">
                      <a16:colId xmlns:a16="http://schemas.microsoft.com/office/drawing/2014/main" val="3418562690"/>
                    </a:ext>
                  </a:extLst>
                </a:gridCol>
                <a:gridCol w="513779">
                  <a:extLst>
                    <a:ext uri="{9D8B030D-6E8A-4147-A177-3AD203B41FA5}">
                      <a16:colId xmlns:a16="http://schemas.microsoft.com/office/drawing/2014/main" val="1829577104"/>
                    </a:ext>
                  </a:extLst>
                </a:gridCol>
                <a:gridCol w="513779">
                  <a:extLst>
                    <a:ext uri="{9D8B030D-6E8A-4147-A177-3AD203B41FA5}">
                      <a16:colId xmlns:a16="http://schemas.microsoft.com/office/drawing/2014/main" val="4252992196"/>
                    </a:ext>
                  </a:extLst>
                </a:gridCol>
                <a:gridCol w="513779">
                  <a:extLst>
                    <a:ext uri="{9D8B030D-6E8A-4147-A177-3AD203B41FA5}">
                      <a16:colId xmlns:a16="http://schemas.microsoft.com/office/drawing/2014/main" val="2485134383"/>
                    </a:ext>
                  </a:extLst>
                </a:gridCol>
                <a:gridCol w="513779">
                  <a:extLst>
                    <a:ext uri="{9D8B030D-6E8A-4147-A177-3AD203B41FA5}">
                      <a16:colId xmlns:a16="http://schemas.microsoft.com/office/drawing/2014/main" val="3986951041"/>
                    </a:ext>
                  </a:extLst>
                </a:gridCol>
                <a:gridCol w="513779">
                  <a:extLst>
                    <a:ext uri="{9D8B030D-6E8A-4147-A177-3AD203B41FA5}">
                      <a16:colId xmlns:a16="http://schemas.microsoft.com/office/drawing/2014/main" val="1389713505"/>
                    </a:ext>
                  </a:extLst>
                </a:gridCol>
                <a:gridCol w="513779">
                  <a:extLst>
                    <a:ext uri="{9D8B030D-6E8A-4147-A177-3AD203B41FA5}">
                      <a16:colId xmlns:a16="http://schemas.microsoft.com/office/drawing/2014/main" val="1620028883"/>
                    </a:ext>
                  </a:extLst>
                </a:gridCol>
                <a:gridCol w="513779">
                  <a:extLst>
                    <a:ext uri="{9D8B030D-6E8A-4147-A177-3AD203B41FA5}">
                      <a16:colId xmlns:a16="http://schemas.microsoft.com/office/drawing/2014/main" val="2215062875"/>
                    </a:ext>
                  </a:extLst>
                </a:gridCol>
                <a:gridCol w="513779">
                  <a:extLst>
                    <a:ext uri="{9D8B030D-6E8A-4147-A177-3AD203B41FA5}">
                      <a16:colId xmlns:a16="http://schemas.microsoft.com/office/drawing/2014/main" val="1582338149"/>
                    </a:ext>
                  </a:extLst>
                </a:gridCol>
                <a:gridCol w="513779">
                  <a:extLst>
                    <a:ext uri="{9D8B030D-6E8A-4147-A177-3AD203B41FA5}">
                      <a16:colId xmlns:a16="http://schemas.microsoft.com/office/drawing/2014/main" val="676365050"/>
                    </a:ext>
                  </a:extLst>
                </a:gridCol>
                <a:gridCol w="513779">
                  <a:extLst>
                    <a:ext uri="{9D8B030D-6E8A-4147-A177-3AD203B41FA5}">
                      <a16:colId xmlns:a16="http://schemas.microsoft.com/office/drawing/2014/main" val="2749145812"/>
                    </a:ext>
                  </a:extLst>
                </a:gridCol>
                <a:gridCol w="513779">
                  <a:extLst>
                    <a:ext uri="{9D8B030D-6E8A-4147-A177-3AD203B41FA5}">
                      <a16:colId xmlns:a16="http://schemas.microsoft.com/office/drawing/2014/main" val="2012384486"/>
                    </a:ext>
                  </a:extLst>
                </a:gridCol>
                <a:gridCol w="513779">
                  <a:extLst>
                    <a:ext uri="{9D8B030D-6E8A-4147-A177-3AD203B41FA5}">
                      <a16:colId xmlns:a16="http://schemas.microsoft.com/office/drawing/2014/main" val="2975924919"/>
                    </a:ext>
                  </a:extLst>
                </a:gridCol>
              </a:tblGrid>
              <a:tr h="152084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Uni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138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Uni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206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Uni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141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Uni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110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Uni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118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Uni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111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Uni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131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Uni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94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extLst>
                  <a:ext uri="{0D108BD9-81ED-4DB2-BD59-A6C34878D82A}">
                    <a16:rowId xmlns:a16="http://schemas.microsoft.com/office/drawing/2014/main" val="4249418184"/>
                  </a:ext>
                </a:extLst>
              </a:tr>
              <a:tr h="152084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Sample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483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Sample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483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Sample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483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Sample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461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Sample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459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Sample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473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Sample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483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Sample: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E" sz="800" b="1" u="none" strike="noStrike" dirty="0">
                          <a:solidFill>
                            <a:srgbClr val="7F7F7F"/>
                          </a:solidFill>
                          <a:effectLst/>
                        </a:rPr>
                        <a:t>480</a:t>
                      </a:r>
                      <a:endParaRPr lang="en-IE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33" marR="5633" marT="5633" marB="0" anchor="b"/>
                </a:tc>
                <a:extLst>
                  <a:ext uri="{0D108BD9-81ED-4DB2-BD59-A6C34878D82A}">
                    <a16:rowId xmlns:a16="http://schemas.microsoft.com/office/drawing/2014/main" val="30077586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2182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Content Placeholder 4">
            <a:extLst>
              <a:ext uri="{FF2B5EF4-FFF2-40B4-BE49-F238E27FC236}">
                <a16:creationId xmlns:a16="http://schemas.microsoft.com/office/drawing/2014/main" id="{882CFC12-11B6-44D2-ACFB-A068D050B1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58364958"/>
              </p:ext>
            </p:extLst>
          </p:nvPr>
        </p:nvGraphicFramePr>
        <p:xfrm>
          <a:off x="4483408" y="736670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Content Placeholder 4">
            <a:extLst>
              <a:ext uri="{FF2B5EF4-FFF2-40B4-BE49-F238E27FC236}">
                <a16:creationId xmlns:a16="http://schemas.microsoft.com/office/drawing/2014/main" id="{DDDEDAE5-17FD-4FC5-B167-550DB2A7BF2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3890342"/>
              </p:ext>
            </p:extLst>
          </p:nvPr>
        </p:nvGraphicFramePr>
        <p:xfrm>
          <a:off x="6729440" y="764414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85370" y="0"/>
            <a:ext cx="7406640" cy="448056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r>
              <a:rPr lang="en-IE" sz="2000" dirty="0"/>
              <a:t>PT Share Local Areas - All Adults</a:t>
            </a:r>
            <a:endParaRPr lang="en-GB" sz="2000" dirty="0"/>
          </a:p>
        </p:txBody>
      </p:sp>
      <p:graphicFrame>
        <p:nvGraphicFramePr>
          <p:cNvPr id="9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02370497"/>
              </p:ext>
            </p:extLst>
          </p:nvPr>
        </p:nvGraphicFramePr>
        <p:xfrm>
          <a:off x="-70441" y="764414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5" name="Content Placeholder 4">
            <a:extLst>
              <a:ext uri="{FF2B5EF4-FFF2-40B4-BE49-F238E27FC236}">
                <a16:creationId xmlns:a16="http://schemas.microsoft.com/office/drawing/2014/main" id="{99AC6466-2776-46C2-BE20-A6C6DFB24F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25573291"/>
              </p:ext>
            </p:extLst>
          </p:nvPr>
        </p:nvGraphicFramePr>
        <p:xfrm>
          <a:off x="2272092" y="764414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EA464187-DBE0-48E9-9809-D211EA8C9F80}"/>
              </a:ext>
            </a:extLst>
          </p:cNvPr>
          <p:cNvCxnSpPr>
            <a:cxnSpLocks/>
          </p:cNvCxnSpPr>
          <p:nvPr/>
        </p:nvCxnSpPr>
        <p:spPr>
          <a:xfrm flipV="1">
            <a:off x="2273786" y="480823"/>
            <a:ext cx="0" cy="38404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9559A7F-AFCE-4C14-9FFC-8955E415B510}"/>
              </a:ext>
            </a:extLst>
          </p:cNvPr>
          <p:cNvCxnSpPr>
            <a:cxnSpLocks/>
          </p:cNvCxnSpPr>
          <p:nvPr/>
        </p:nvCxnSpPr>
        <p:spPr>
          <a:xfrm flipV="1">
            <a:off x="4587366" y="480823"/>
            <a:ext cx="0" cy="38404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35">
            <a:extLst>
              <a:ext uri="{FF2B5EF4-FFF2-40B4-BE49-F238E27FC236}">
                <a16:creationId xmlns:a16="http://schemas.microsoft.com/office/drawing/2014/main" id="{6047E085-F20B-4809-B361-BCCF11DBFF80}"/>
              </a:ext>
            </a:extLst>
          </p:cNvPr>
          <p:cNvCxnSpPr>
            <a:cxnSpLocks/>
          </p:cNvCxnSpPr>
          <p:nvPr/>
        </p:nvCxnSpPr>
        <p:spPr>
          <a:xfrm flipV="1">
            <a:off x="6886688" y="480823"/>
            <a:ext cx="0" cy="38404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Content Placeholder 4">
            <a:extLst>
              <a:ext uri="{FF2B5EF4-FFF2-40B4-BE49-F238E27FC236}">
                <a16:creationId xmlns:a16="http://schemas.microsoft.com/office/drawing/2014/main" id="{F0DA2E3E-72A3-41D1-A2DC-3524E3424F9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66135997"/>
              </p:ext>
            </p:extLst>
          </p:nvPr>
        </p:nvGraphicFramePr>
        <p:xfrm>
          <a:off x="-70441" y="2527774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9" name="Content Placeholder 4">
            <a:extLst>
              <a:ext uri="{FF2B5EF4-FFF2-40B4-BE49-F238E27FC236}">
                <a16:creationId xmlns:a16="http://schemas.microsoft.com/office/drawing/2014/main" id="{E22BBA06-41CB-47EC-A64C-ED8C9FEBD44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0205682"/>
              </p:ext>
            </p:extLst>
          </p:nvPr>
        </p:nvGraphicFramePr>
        <p:xfrm>
          <a:off x="2272092" y="2527774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Content Placeholder 4">
            <a:extLst>
              <a:ext uri="{FF2B5EF4-FFF2-40B4-BE49-F238E27FC236}">
                <a16:creationId xmlns:a16="http://schemas.microsoft.com/office/drawing/2014/main" id="{AE532857-52D6-4A28-A1ED-48FBFE54B4F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4459523"/>
              </p:ext>
            </p:extLst>
          </p:nvPr>
        </p:nvGraphicFramePr>
        <p:xfrm>
          <a:off x="4552840" y="2527774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2" name="Content Placeholder 4">
            <a:extLst>
              <a:ext uri="{FF2B5EF4-FFF2-40B4-BE49-F238E27FC236}">
                <a16:creationId xmlns:a16="http://schemas.microsoft.com/office/drawing/2014/main" id="{E005AC4E-5D75-44FA-A611-AC025924953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3969649"/>
              </p:ext>
            </p:extLst>
          </p:nvPr>
        </p:nvGraphicFramePr>
        <p:xfrm>
          <a:off x="6833588" y="2527774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cxnSp>
        <p:nvCxnSpPr>
          <p:cNvPr id="4" name="Straight Connector 35">
            <a:extLst>
              <a:ext uri="{FF2B5EF4-FFF2-40B4-BE49-F238E27FC236}">
                <a16:creationId xmlns:a16="http://schemas.microsoft.com/office/drawing/2014/main" id="{3E6ADDE0-9AAB-9405-0A4E-9076ADB2BF1D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2054615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">
            <a:extLst>
              <a:ext uri="{FF2B5EF4-FFF2-40B4-BE49-F238E27FC236}">
                <a16:creationId xmlns:a16="http://schemas.microsoft.com/office/drawing/2014/main" id="{926790AF-A825-B89C-B249-A79B7F4F11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32</a:t>
            </a:fld>
            <a:r>
              <a:rPr lang="en-GB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0B8DB3C-E6D2-AEBF-63B0-C699A90EA23B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t="83421" b="6365"/>
          <a:stretch>
            <a:fillRect/>
          </a:stretch>
        </p:blipFill>
        <p:spPr>
          <a:xfrm>
            <a:off x="411480" y="4347983"/>
            <a:ext cx="8321040" cy="33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379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ABC3835C-C1B9-44C8-8695-DF79C8ABDD9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72827766"/>
              </p:ext>
            </p:extLst>
          </p:nvPr>
        </p:nvGraphicFramePr>
        <p:xfrm>
          <a:off x="7275696" y="2561394"/>
          <a:ext cx="1920240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7" name="Content Placeholder 4">
            <a:extLst>
              <a:ext uri="{FF2B5EF4-FFF2-40B4-BE49-F238E27FC236}">
                <a16:creationId xmlns:a16="http://schemas.microsoft.com/office/drawing/2014/main" id="{F0DA2E3E-72A3-41D1-A2DC-3524E3424F9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8047555"/>
              </p:ext>
            </p:extLst>
          </p:nvPr>
        </p:nvGraphicFramePr>
        <p:xfrm>
          <a:off x="123906" y="2561394"/>
          <a:ext cx="1920240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9" name="Content Placeholder 4">
            <a:extLst>
              <a:ext uri="{FF2B5EF4-FFF2-40B4-BE49-F238E27FC236}">
                <a16:creationId xmlns:a16="http://schemas.microsoft.com/office/drawing/2014/main" id="{E22BBA06-41CB-47EC-A64C-ED8C9FEBD44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4286233"/>
              </p:ext>
            </p:extLst>
          </p:nvPr>
        </p:nvGraphicFramePr>
        <p:xfrm>
          <a:off x="1896137" y="2561394"/>
          <a:ext cx="1920240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Content Placeholder 4">
            <a:extLst>
              <a:ext uri="{FF2B5EF4-FFF2-40B4-BE49-F238E27FC236}">
                <a16:creationId xmlns:a16="http://schemas.microsoft.com/office/drawing/2014/main" id="{AE532857-52D6-4A28-A1ED-48FBFE54B4F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56537096"/>
              </p:ext>
            </p:extLst>
          </p:nvPr>
        </p:nvGraphicFramePr>
        <p:xfrm>
          <a:off x="3683234" y="2583600"/>
          <a:ext cx="1920240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2" name="Content Placeholder 4">
            <a:extLst>
              <a:ext uri="{FF2B5EF4-FFF2-40B4-BE49-F238E27FC236}">
                <a16:creationId xmlns:a16="http://schemas.microsoft.com/office/drawing/2014/main" id="{E005AC4E-5D75-44FA-A611-AC025924953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73373433"/>
              </p:ext>
            </p:extLst>
          </p:nvPr>
        </p:nvGraphicFramePr>
        <p:xfrm>
          <a:off x="5440599" y="2561394"/>
          <a:ext cx="1920240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5" name="Content Placeholder 4">
            <a:extLst>
              <a:ext uri="{FF2B5EF4-FFF2-40B4-BE49-F238E27FC236}">
                <a16:creationId xmlns:a16="http://schemas.microsoft.com/office/drawing/2014/main" id="{99AC6466-2776-46C2-BE20-A6C6DFB24F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38584703"/>
              </p:ext>
            </p:extLst>
          </p:nvPr>
        </p:nvGraphicFramePr>
        <p:xfrm>
          <a:off x="2193912" y="758064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7" name="Content Placeholder 4">
            <a:extLst>
              <a:ext uri="{FF2B5EF4-FFF2-40B4-BE49-F238E27FC236}">
                <a16:creationId xmlns:a16="http://schemas.microsoft.com/office/drawing/2014/main" id="{DDDEDAE5-17FD-4FC5-B167-550DB2A7BF2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40139849"/>
              </p:ext>
            </p:extLst>
          </p:nvPr>
        </p:nvGraphicFramePr>
        <p:xfrm>
          <a:off x="6819656" y="726314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85370" y="0"/>
            <a:ext cx="7406640" cy="448056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r>
              <a:rPr lang="en-IE" sz="2000" dirty="0"/>
              <a:t>PT Share Local Areas - All Adults</a:t>
            </a:r>
            <a:endParaRPr lang="en-GB" sz="2000" dirty="0"/>
          </a:p>
        </p:txBody>
      </p:sp>
      <p:graphicFrame>
        <p:nvGraphicFramePr>
          <p:cNvPr id="9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75728273"/>
              </p:ext>
            </p:extLst>
          </p:nvPr>
        </p:nvGraphicFramePr>
        <p:xfrm>
          <a:off x="-135637" y="661924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EA464187-DBE0-48E9-9809-D211EA8C9F80}"/>
              </a:ext>
            </a:extLst>
          </p:cNvPr>
          <p:cNvCxnSpPr>
            <a:cxnSpLocks/>
          </p:cNvCxnSpPr>
          <p:nvPr/>
        </p:nvCxnSpPr>
        <p:spPr>
          <a:xfrm flipV="1">
            <a:off x="2273114" y="499612"/>
            <a:ext cx="0" cy="20116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Content Placeholder 4">
            <a:extLst>
              <a:ext uri="{FF2B5EF4-FFF2-40B4-BE49-F238E27FC236}">
                <a16:creationId xmlns:a16="http://schemas.microsoft.com/office/drawing/2014/main" id="{EFF57A44-6518-4DDB-ADFE-071CEE5B5B8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23881225"/>
              </p:ext>
            </p:extLst>
          </p:nvPr>
        </p:nvGraphicFramePr>
        <p:xfrm>
          <a:off x="4603810" y="621588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cxnSp>
        <p:nvCxnSpPr>
          <p:cNvPr id="24" name="Straight Connector 35">
            <a:extLst>
              <a:ext uri="{FF2B5EF4-FFF2-40B4-BE49-F238E27FC236}">
                <a16:creationId xmlns:a16="http://schemas.microsoft.com/office/drawing/2014/main" id="{3B3D5CEB-4D70-46E3-985B-2CCEB285E731}"/>
              </a:ext>
            </a:extLst>
          </p:cNvPr>
          <p:cNvCxnSpPr>
            <a:cxnSpLocks/>
          </p:cNvCxnSpPr>
          <p:nvPr/>
        </p:nvCxnSpPr>
        <p:spPr>
          <a:xfrm flipV="1">
            <a:off x="4680834" y="499612"/>
            <a:ext cx="0" cy="20116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35">
            <a:extLst>
              <a:ext uri="{FF2B5EF4-FFF2-40B4-BE49-F238E27FC236}">
                <a16:creationId xmlns:a16="http://schemas.microsoft.com/office/drawing/2014/main" id="{64F0FE9A-78A5-4EDD-8F66-90DB4E762C2B}"/>
              </a:ext>
            </a:extLst>
          </p:cNvPr>
          <p:cNvCxnSpPr>
            <a:cxnSpLocks/>
          </p:cNvCxnSpPr>
          <p:nvPr/>
        </p:nvCxnSpPr>
        <p:spPr>
          <a:xfrm flipV="1">
            <a:off x="6986673" y="499612"/>
            <a:ext cx="0" cy="20116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35">
            <a:extLst>
              <a:ext uri="{FF2B5EF4-FFF2-40B4-BE49-F238E27FC236}">
                <a16:creationId xmlns:a16="http://schemas.microsoft.com/office/drawing/2014/main" id="{ACCAD4FA-C640-4A55-9483-797145AB7700}"/>
              </a:ext>
            </a:extLst>
          </p:cNvPr>
          <p:cNvCxnSpPr>
            <a:cxnSpLocks/>
          </p:cNvCxnSpPr>
          <p:nvPr/>
        </p:nvCxnSpPr>
        <p:spPr>
          <a:xfrm flipV="1">
            <a:off x="1998797" y="2516880"/>
            <a:ext cx="0" cy="18288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348077C9-19B3-4EC6-8709-390728F9BB4E}"/>
              </a:ext>
            </a:extLst>
          </p:cNvPr>
          <p:cNvCxnSpPr>
            <a:cxnSpLocks/>
          </p:cNvCxnSpPr>
          <p:nvPr/>
        </p:nvCxnSpPr>
        <p:spPr>
          <a:xfrm flipV="1">
            <a:off x="3740728" y="2516880"/>
            <a:ext cx="0" cy="18288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149CAF1-D396-47C3-98B6-F89C53F861DB}"/>
              </a:ext>
            </a:extLst>
          </p:cNvPr>
          <p:cNvCxnSpPr>
            <a:cxnSpLocks/>
          </p:cNvCxnSpPr>
          <p:nvPr/>
        </p:nvCxnSpPr>
        <p:spPr>
          <a:xfrm flipV="1">
            <a:off x="5503026" y="2516880"/>
            <a:ext cx="0" cy="18288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5">
            <a:extLst>
              <a:ext uri="{FF2B5EF4-FFF2-40B4-BE49-F238E27FC236}">
                <a16:creationId xmlns:a16="http://schemas.microsoft.com/office/drawing/2014/main" id="{3D070D92-DE40-44BF-A3B2-9A6D93039626}"/>
              </a:ext>
            </a:extLst>
          </p:cNvPr>
          <p:cNvCxnSpPr>
            <a:cxnSpLocks/>
          </p:cNvCxnSpPr>
          <p:nvPr/>
        </p:nvCxnSpPr>
        <p:spPr>
          <a:xfrm flipV="1">
            <a:off x="7298574" y="2516880"/>
            <a:ext cx="0" cy="18288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5">
            <a:extLst>
              <a:ext uri="{FF2B5EF4-FFF2-40B4-BE49-F238E27FC236}">
                <a16:creationId xmlns:a16="http://schemas.microsoft.com/office/drawing/2014/main" id="{3B6B3F85-BE1F-3BD4-5EB7-C9FAE7094E7F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2054615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">
            <a:extLst>
              <a:ext uri="{FF2B5EF4-FFF2-40B4-BE49-F238E27FC236}">
                <a16:creationId xmlns:a16="http://schemas.microsoft.com/office/drawing/2014/main" id="{48C86DD4-A923-A481-2C78-D5693EAF2E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33</a:t>
            </a:fld>
            <a:r>
              <a:rPr lang="en-GB" dirty="0"/>
              <a:t>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08C51BA-4F2B-173C-12BC-86F860F91C5A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t="83421" b="6365"/>
          <a:stretch>
            <a:fillRect/>
          </a:stretch>
        </p:blipFill>
        <p:spPr>
          <a:xfrm>
            <a:off x="411480" y="4347983"/>
            <a:ext cx="8321040" cy="33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14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Content Placeholder 4">
            <a:extLst>
              <a:ext uri="{FF2B5EF4-FFF2-40B4-BE49-F238E27FC236}">
                <a16:creationId xmlns:a16="http://schemas.microsoft.com/office/drawing/2014/main" id="{DD08DD0B-1D01-480E-BA15-127D6B9CF5B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8707459"/>
              </p:ext>
            </p:extLst>
          </p:nvPr>
        </p:nvGraphicFramePr>
        <p:xfrm>
          <a:off x="6772987" y="720872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Content Placeholder 4">
            <a:extLst>
              <a:ext uri="{FF2B5EF4-FFF2-40B4-BE49-F238E27FC236}">
                <a16:creationId xmlns:a16="http://schemas.microsoft.com/office/drawing/2014/main" id="{882CFC12-11B6-44D2-ACFB-A068D050B1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37903365"/>
              </p:ext>
            </p:extLst>
          </p:nvPr>
        </p:nvGraphicFramePr>
        <p:xfrm>
          <a:off x="4483408" y="726314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85370" y="78724"/>
            <a:ext cx="7406640" cy="369332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r>
              <a:rPr lang="en-IE" dirty="0"/>
              <a:t>PT Share Local Areas - shoppers with Children</a:t>
            </a:r>
            <a:endParaRPr lang="en-GB" sz="2000" dirty="0"/>
          </a:p>
        </p:txBody>
      </p:sp>
      <p:graphicFrame>
        <p:nvGraphicFramePr>
          <p:cNvPr id="9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18256472"/>
              </p:ext>
            </p:extLst>
          </p:nvPr>
        </p:nvGraphicFramePr>
        <p:xfrm>
          <a:off x="-70441" y="726314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5" name="Content Placeholder 4">
            <a:extLst>
              <a:ext uri="{FF2B5EF4-FFF2-40B4-BE49-F238E27FC236}">
                <a16:creationId xmlns:a16="http://schemas.microsoft.com/office/drawing/2014/main" id="{99AC6466-2776-46C2-BE20-A6C6DFB24F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38606469"/>
              </p:ext>
            </p:extLst>
          </p:nvPr>
        </p:nvGraphicFramePr>
        <p:xfrm>
          <a:off x="2166352" y="726314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EA464187-DBE0-48E9-9809-D211EA8C9F80}"/>
              </a:ext>
            </a:extLst>
          </p:cNvPr>
          <p:cNvCxnSpPr>
            <a:cxnSpLocks/>
          </p:cNvCxnSpPr>
          <p:nvPr/>
        </p:nvCxnSpPr>
        <p:spPr>
          <a:xfrm flipV="1">
            <a:off x="2273786" y="480823"/>
            <a:ext cx="0" cy="38404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9559A7F-AFCE-4C14-9FFC-8955E415B510}"/>
              </a:ext>
            </a:extLst>
          </p:cNvPr>
          <p:cNvCxnSpPr>
            <a:cxnSpLocks/>
          </p:cNvCxnSpPr>
          <p:nvPr/>
        </p:nvCxnSpPr>
        <p:spPr>
          <a:xfrm flipV="1">
            <a:off x="4587366" y="480823"/>
            <a:ext cx="0" cy="38404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35">
            <a:extLst>
              <a:ext uri="{FF2B5EF4-FFF2-40B4-BE49-F238E27FC236}">
                <a16:creationId xmlns:a16="http://schemas.microsoft.com/office/drawing/2014/main" id="{6047E085-F20B-4809-B361-BCCF11DBFF80}"/>
              </a:ext>
            </a:extLst>
          </p:cNvPr>
          <p:cNvCxnSpPr>
            <a:cxnSpLocks/>
          </p:cNvCxnSpPr>
          <p:nvPr/>
        </p:nvCxnSpPr>
        <p:spPr>
          <a:xfrm flipV="1">
            <a:off x="6886688" y="480823"/>
            <a:ext cx="0" cy="38404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Content Placeholder 4">
            <a:extLst>
              <a:ext uri="{FF2B5EF4-FFF2-40B4-BE49-F238E27FC236}">
                <a16:creationId xmlns:a16="http://schemas.microsoft.com/office/drawing/2014/main" id="{F0DA2E3E-72A3-41D1-A2DC-3524E3424F9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8489110"/>
              </p:ext>
            </p:extLst>
          </p:nvPr>
        </p:nvGraphicFramePr>
        <p:xfrm>
          <a:off x="-70441" y="2527774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9" name="Content Placeholder 4">
            <a:extLst>
              <a:ext uri="{FF2B5EF4-FFF2-40B4-BE49-F238E27FC236}">
                <a16:creationId xmlns:a16="http://schemas.microsoft.com/office/drawing/2014/main" id="{E22BBA06-41CB-47EC-A64C-ED8C9FEBD44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789662"/>
              </p:ext>
            </p:extLst>
          </p:nvPr>
        </p:nvGraphicFramePr>
        <p:xfrm>
          <a:off x="2272092" y="2527774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Content Placeholder 4">
            <a:extLst>
              <a:ext uri="{FF2B5EF4-FFF2-40B4-BE49-F238E27FC236}">
                <a16:creationId xmlns:a16="http://schemas.microsoft.com/office/drawing/2014/main" id="{AE532857-52D6-4A28-A1ED-48FBFE54B4F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04952756"/>
              </p:ext>
            </p:extLst>
          </p:nvPr>
        </p:nvGraphicFramePr>
        <p:xfrm>
          <a:off x="4552840" y="2527774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2" name="Content Placeholder 4">
            <a:extLst>
              <a:ext uri="{FF2B5EF4-FFF2-40B4-BE49-F238E27FC236}">
                <a16:creationId xmlns:a16="http://schemas.microsoft.com/office/drawing/2014/main" id="{E005AC4E-5D75-44FA-A611-AC025924953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76831923"/>
              </p:ext>
            </p:extLst>
          </p:nvPr>
        </p:nvGraphicFramePr>
        <p:xfrm>
          <a:off x="6824143" y="2535621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C9482914-DB5B-51E3-1635-5A2294380179}"/>
              </a:ext>
            </a:extLst>
          </p:cNvPr>
          <p:cNvSpPr/>
          <p:nvPr/>
        </p:nvSpPr>
        <p:spPr>
          <a:xfrm>
            <a:off x="6678564" y="4759220"/>
            <a:ext cx="1105111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algn="r" defTabSz="914400"/>
            <a:r>
              <a:rPr lang="en-IE" sz="900" i="1" dirty="0">
                <a:solidFill>
                  <a:srgbClr val="FF0000"/>
                </a:solidFill>
                <a:cs typeface="Calibri" panose="020F0502020204030204" pitchFamily="34" charset="0"/>
              </a:rPr>
              <a:t>Small Sample Sizes</a:t>
            </a:r>
          </a:p>
        </p:txBody>
      </p:sp>
      <p:cxnSp>
        <p:nvCxnSpPr>
          <p:cNvPr id="5" name="Straight Connector 35">
            <a:extLst>
              <a:ext uri="{FF2B5EF4-FFF2-40B4-BE49-F238E27FC236}">
                <a16:creationId xmlns:a16="http://schemas.microsoft.com/office/drawing/2014/main" id="{4933D279-3F06-CADE-8B54-1BB4E81CB0FC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2054615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">
            <a:extLst>
              <a:ext uri="{FF2B5EF4-FFF2-40B4-BE49-F238E27FC236}">
                <a16:creationId xmlns:a16="http://schemas.microsoft.com/office/drawing/2014/main" id="{0AABAC79-FC9A-EF26-27D4-25304FC58D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34</a:t>
            </a:fld>
            <a:r>
              <a:rPr lang="en-GB" dirty="0"/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E20D58D-8D30-A170-5A5F-2835BF3E191B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t="83421" b="6365"/>
          <a:stretch>
            <a:fillRect/>
          </a:stretch>
        </p:blipFill>
        <p:spPr>
          <a:xfrm>
            <a:off x="411480" y="4347983"/>
            <a:ext cx="8321040" cy="33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072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Content Placeholder 4">
            <a:extLst>
              <a:ext uri="{FF2B5EF4-FFF2-40B4-BE49-F238E27FC236}">
                <a16:creationId xmlns:a16="http://schemas.microsoft.com/office/drawing/2014/main" id="{E005AC4E-5D75-44FA-A611-AC025924953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36645023"/>
              </p:ext>
            </p:extLst>
          </p:nvPr>
        </p:nvGraphicFramePr>
        <p:xfrm>
          <a:off x="5422785" y="2561394"/>
          <a:ext cx="1920240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ABC3835C-C1B9-44C8-8695-DF79C8ABDD9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4347126"/>
              </p:ext>
            </p:extLst>
          </p:nvPr>
        </p:nvGraphicFramePr>
        <p:xfrm>
          <a:off x="7248206" y="2511626"/>
          <a:ext cx="1920240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7" name="Content Placeholder 4">
            <a:extLst>
              <a:ext uri="{FF2B5EF4-FFF2-40B4-BE49-F238E27FC236}">
                <a16:creationId xmlns:a16="http://schemas.microsoft.com/office/drawing/2014/main" id="{F0DA2E3E-72A3-41D1-A2DC-3524E3424F9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0055922"/>
              </p:ext>
            </p:extLst>
          </p:nvPr>
        </p:nvGraphicFramePr>
        <p:xfrm>
          <a:off x="123906" y="2561394"/>
          <a:ext cx="1920240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9" name="Content Placeholder 4">
            <a:extLst>
              <a:ext uri="{FF2B5EF4-FFF2-40B4-BE49-F238E27FC236}">
                <a16:creationId xmlns:a16="http://schemas.microsoft.com/office/drawing/2014/main" id="{E22BBA06-41CB-47EC-A64C-ED8C9FEBD44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9531840"/>
              </p:ext>
            </p:extLst>
          </p:nvPr>
        </p:nvGraphicFramePr>
        <p:xfrm>
          <a:off x="1906411" y="2510024"/>
          <a:ext cx="1920240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1" name="Content Placeholder 4">
            <a:extLst>
              <a:ext uri="{FF2B5EF4-FFF2-40B4-BE49-F238E27FC236}">
                <a16:creationId xmlns:a16="http://schemas.microsoft.com/office/drawing/2014/main" id="{AE532857-52D6-4A28-A1ED-48FBFE54B4F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40940264"/>
              </p:ext>
            </p:extLst>
          </p:nvPr>
        </p:nvGraphicFramePr>
        <p:xfrm>
          <a:off x="3668368" y="2561394"/>
          <a:ext cx="1920240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5" name="Content Placeholder 4">
            <a:extLst>
              <a:ext uri="{FF2B5EF4-FFF2-40B4-BE49-F238E27FC236}">
                <a16:creationId xmlns:a16="http://schemas.microsoft.com/office/drawing/2014/main" id="{99AC6466-2776-46C2-BE20-A6C6DFB24F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41499586"/>
              </p:ext>
            </p:extLst>
          </p:nvPr>
        </p:nvGraphicFramePr>
        <p:xfrm>
          <a:off x="2071992" y="726314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7" name="Content Placeholder 4">
            <a:extLst>
              <a:ext uri="{FF2B5EF4-FFF2-40B4-BE49-F238E27FC236}">
                <a16:creationId xmlns:a16="http://schemas.microsoft.com/office/drawing/2014/main" id="{DDDEDAE5-17FD-4FC5-B167-550DB2A7BF2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24438937"/>
              </p:ext>
            </p:extLst>
          </p:nvPr>
        </p:nvGraphicFramePr>
        <p:xfrm>
          <a:off x="6808079" y="726314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85370" y="78724"/>
            <a:ext cx="7406640" cy="369332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r>
              <a:rPr lang="en-IE" dirty="0"/>
              <a:t>PT Share Local Areas – shoppers with Children</a:t>
            </a:r>
            <a:endParaRPr lang="en-GB" sz="2000" dirty="0"/>
          </a:p>
        </p:txBody>
      </p:sp>
      <p:graphicFrame>
        <p:nvGraphicFramePr>
          <p:cNvPr id="9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05047489"/>
              </p:ext>
            </p:extLst>
          </p:nvPr>
        </p:nvGraphicFramePr>
        <p:xfrm>
          <a:off x="-172941" y="661924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EA464187-DBE0-48E9-9809-D211EA8C9F80}"/>
              </a:ext>
            </a:extLst>
          </p:cNvPr>
          <p:cNvCxnSpPr>
            <a:cxnSpLocks/>
          </p:cNvCxnSpPr>
          <p:nvPr/>
        </p:nvCxnSpPr>
        <p:spPr>
          <a:xfrm flipV="1">
            <a:off x="2191834" y="480823"/>
            <a:ext cx="0" cy="20116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Content Placeholder 4">
            <a:extLst>
              <a:ext uri="{FF2B5EF4-FFF2-40B4-BE49-F238E27FC236}">
                <a16:creationId xmlns:a16="http://schemas.microsoft.com/office/drawing/2014/main" id="{EFF57A44-6518-4DDB-ADFE-071CEE5B5B8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5265361"/>
              </p:ext>
            </p:extLst>
          </p:nvPr>
        </p:nvGraphicFramePr>
        <p:xfrm>
          <a:off x="4462501" y="726314"/>
          <a:ext cx="2356986" cy="1835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cxnSp>
        <p:nvCxnSpPr>
          <p:cNvPr id="24" name="Straight Connector 35">
            <a:extLst>
              <a:ext uri="{FF2B5EF4-FFF2-40B4-BE49-F238E27FC236}">
                <a16:creationId xmlns:a16="http://schemas.microsoft.com/office/drawing/2014/main" id="{3B3D5CEB-4D70-46E3-985B-2CCEB285E731}"/>
              </a:ext>
            </a:extLst>
          </p:cNvPr>
          <p:cNvCxnSpPr>
            <a:cxnSpLocks/>
          </p:cNvCxnSpPr>
          <p:nvPr/>
        </p:nvCxnSpPr>
        <p:spPr>
          <a:xfrm flipV="1">
            <a:off x="4528434" y="480823"/>
            <a:ext cx="0" cy="20116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35">
            <a:extLst>
              <a:ext uri="{FF2B5EF4-FFF2-40B4-BE49-F238E27FC236}">
                <a16:creationId xmlns:a16="http://schemas.microsoft.com/office/drawing/2014/main" id="{64F0FE9A-78A5-4EDD-8F66-90DB4E762C2B}"/>
              </a:ext>
            </a:extLst>
          </p:cNvPr>
          <p:cNvCxnSpPr>
            <a:cxnSpLocks/>
          </p:cNvCxnSpPr>
          <p:nvPr/>
        </p:nvCxnSpPr>
        <p:spPr>
          <a:xfrm flipV="1">
            <a:off x="6963683" y="480823"/>
            <a:ext cx="0" cy="20116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35">
            <a:extLst>
              <a:ext uri="{FF2B5EF4-FFF2-40B4-BE49-F238E27FC236}">
                <a16:creationId xmlns:a16="http://schemas.microsoft.com/office/drawing/2014/main" id="{ACCAD4FA-C640-4A55-9483-797145AB7700}"/>
              </a:ext>
            </a:extLst>
          </p:cNvPr>
          <p:cNvCxnSpPr>
            <a:cxnSpLocks/>
          </p:cNvCxnSpPr>
          <p:nvPr/>
        </p:nvCxnSpPr>
        <p:spPr>
          <a:xfrm flipV="1">
            <a:off x="1950674" y="2523143"/>
            <a:ext cx="0" cy="18288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348077C9-19B3-4EC6-8709-390728F9BB4E}"/>
              </a:ext>
            </a:extLst>
          </p:cNvPr>
          <p:cNvCxnSpPr>
            <a:cxnSpLocks/>
          </p:cNvCxnSpPr>
          <p:nvPr/>
        </p:nvCxnSpPr>
        <p:spPr>
          <a:xfrm flipV="1">
            <a:off x="3740728" y="2523143"/>
            <a:ext cx="0" cy="18288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149CAF1-D396-47C3-98B6-F89C53F861DB}"/>
              </a:ext>
            </a:extLst>
          </p:cNvPr>
          <p:cNvCxnSpPr>
            <a:cxnSpLocks/>
          </p:cNvCxnSpPr>
          <p:nvPr/>
        </p:nvCxnSpPr>
        <p:spPr>
          <a:xfrm flipV="1">
            <a:off x="5503026" y="2523143"/>
            <a:ext cx="0" cy="18288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5">
            <a:extLst>
              <a:ext uri="{FF2B5EF4-FFF2-40B4-BE49-F238E27FC236}">
                <a16:creationId xmlns:a16="http://schemas.microsoft.com/office/drawing/2014/main" id="{3D070D92-DE40-44BF-A3B2-9A6D93039626}"/>
              </a:ext>
            </a:extLst>
          </p:cNvPr>
          <p:cNvCxnSpPr>
            <a:cxnSpLocks/>
          </p:cNvCxnSpPr>
          <p:nvPr/>
        </p:nvCxnSpPr>
        <p:spPr>
          <a:xfrm flipV="1">
            <a:off x="7298574" y="2523143"/>
            <a:ext cx="0" cy="18288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09E44703-3499-083E-6543-67E273A93795}"/>
              </a:ext>
            </a:extLst>
          </p:cNvPr>
          <p:cNvSpPr/>
          <p:nvPr/>
        </p:nvSpPr>
        <p:spPr>
          <a:xfrm>
            <a:off x="6695650" y="4760389"/>
            <a:ext cx="1105111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algn="r" defTabSz="914400"/>
            <a:r>
              <a:rPr lang="en-IE" sz="900" i="1" dirty="0">
                <a:solidFill>
                  <a:srgbClr val="FF0000"/>
                </a:solidFill>
                <a:cs typeface="Calibri" panose="020F0502020204030204" pitchFamily="34" charset="0"/>
              </a:rPr>
              <a:t>Small Sample Sizes</a:t>
            </a:r>
          </a:p>
        </p:txBody>
      </p:sp>
      <p:cxnSp>
        <p:nvCxnSpPr>
          <p:cNvPr id="5" name="Straight Connector 35">
            <a:extLst>
              <a:ext uri="{FF2B5EF4-FFF2-40B4-BE49-F238E27FC236}">
                <a16:creationId xmlns:a16="http://schemas.microsoft.com/office/drawing/2014/main" id="{CC24EFC0-3766-1F7D-4910-BBC9E813AFCB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2054615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6A6908AD-5BB0-4AC3-91BF-E41CB461FB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35</a:t>
            </a:fld>
            <a:r>
              <a:rPr lang="en-GB" dirty="0"/>
              <a:t>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88147AE-A553-5ACD-6B49-649E3C97FE96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t="83421" b="6365"/>
          <a:stretch>
            <a:fillRect/>
          </a:stretch>
        </p:blipFill>
        <p:spPr>
          <a:xfrm>
            <a:off x="411480" y="4347983"/>
            <a:ext cx="8321040" cy="33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207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b="1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459E3F0-CFB8-FD7F-012C-B33E53758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54A57E86-6553-E255-4A1E-2E2F0F81D9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36</a:t>
            </a:fld>
            <a:r>
              <a:rPr lang="en-GB" dirty="0"/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6E6D5E8-A6D3-805F-E539-DEC9082BDABD}"/>
              </a:ext>
            </a:extLst>
          </p:cNvPr>
          <p:cNvSpPr txBox="1"/>
          <p:nvPr/>
        </p:nvSpPr>
        <p:spPr>
          <a:xfrm>
            <a:off x="4180171" y="2104733"/>
            <a:ext cx="4148893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/>
            <a:r>
              <a:rPr lang="en-IE" sz="3200" b="1" dirty="0">
                <a:solidFill>
                  <a:schemeClr val="bg1"/>
                </a:solidFill>
              </a:rPr>
              <a:t>Radio &amp; Social Media</a:t>
            </a:r>
          </a:p>
        </p:txBody>
      </p:sp>
    </p:spTree>
    <p:extLst>
      <p:ext uri="{BB962C8B-B14F-4D97-AF65-F5344CB8AC3E}">
        <p14:creationId xmlns:p14="http://schemas.microsoft.com/office/powerpoint/2010/main" val="4181898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35A29899-347D-92CE-3603-090B36EEB6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643" y="12140"/>
            <a:ext cx="9144000" cy="51435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2474B07-BD59-B041-3975-3FC7EC3EAFE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12947"/>
          <a:stretch/>
        </p:blipFill>
        <p:spPr>
          <a:xfrm>
            <a:off x="474562" y="319027"/>
            <a:ext cx="8194876" cy="4012799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C5D051E6-5775-012D-8BA8-B5AD0C971536}"/>
              </a:ext>
            </a:extLst>
          </p:cNvPr>
          <p:cNvSpPr/>
          <p:nvPr/>
        </p:nvSpPr>
        <p:spPr>
          <a:xfrm>
            <a:off x="4389159" y="1357205"/>
            <a:ext cx="1361010" cy="15451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883525E-F291-52CE-3D3A-CC0756705C02}"/>
              </a:ext>
            </a:extLst>
          </p:cNvPr>
          <p:cNvSpPr/>
          <p:nvPr/>
        </p:nvSpPr>
        <p:spPr>
          <a:xfrm>
            <a:off x="2455334" y="1741312"/>
            <a:ext cx="685800" cy="7435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92ABBD03-0A17-3A65-7969-AFD0C0026847}"/>
              </a:ext>
            </a:extLst>
          </p:cNvPr>
          <p:cNvGraphicFramePr/>
          <p:nvPr/>
        </p:nvGraphicFramePr>
        <p:xfrm>
          <a:off x="2388298" y="1593327"/>
          <a:ext cx="834023" cy="1122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B96CD2AD-D15D-AF76-DE4B-63DB3179C7AD}"/>
              </a:ext>
            </a:extLst>
          </p:cNvPr>
          <p:cNvSpPr/>
          <p:nvPr/>
        </p:nvSpPr>
        <p:spPr>
          <a:xfrm>
            <a:off x="2755920" y="2105227"/>
            <a:ext cx="98777" cy="98777"/>
          </a:xfrm>
          <a:prstGeom prst="ellipse">
            <a:avLst/>
          </a:prstGeom>
          <a:solidFill>
            <a:srgbClr val="060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6A01A9-5718-1E09-9D9F-60A6E288B123}"/>
              </a:ext>
            </a:extLst>
          </p:cNvPr>
          <p:cNvSpPr/>
          <p:nvPr/>
        </p:nvSpPr>
        <p:spPr>
          <a:xfrm>
            <a:off x="2574529" y="3276580"/>
            <a:ext cx="685800" cy="9127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8E817B2-6F83-E3C1-A26A-126223096D64}"/>
              </a:ext>
            </a:extLst>
          </p:cNvPr>
          <p:cNvSpPr txBox="1"/>
          <p:nvPr/>
        </p:nvSpPr>
        <p:spPr>
          <a:xfrm>
            <a:off x="2574529" y="3231961"/>
            <a:ext cx="647792" cy="1036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None/>
            </a:pPr>
            <a:r>
              <a:rPr lang="en-US" sz="1050" dirty="0">
                <a:latin typeface="BauerMedia Sans" pitchFamily="2" charset="77"/>
              </a:rPr>
              <a:t>787,970</a:t>
            </a:r>
          </a:p>
          <a:p>
            <a:pPr>
              <a:lnSpc>
                <a:spcPct val="150000"/>
              </a:lnSpc>
              <a:buNone/>
            </a:pPr>
            <a:r>
              <a:rPr lang="en-US" sz="1050" dirty="0">
                <a:latin typeface="BauerMedia Sans" pitchFamily="2" charset="77"/>
              </a:rPr>
              <a:t>465,390</a:t>
            </a:r>
          </a:p>
          <a:p>
            <a:pPr>
              <a:lnSpc>
                <a:spcPct val="150000"/>
              </a:lnSpc>
              <a:buNone/>
            </a:pPr>
            <a:r>
              <a:rPr lang="en-US" sz="1050" dirty="0">
                <a:latin typeface="BauerMedia Sans" pitchFamily="2" charset="77"/>
              </a:rPr>
              <a:t>799,200</a:t>
            </a:r>
          </a:p>
          <a:p>
            <a:pPr>
              <a:lnSpc>
                <a:spcPct val="150000"/>
              </a:lnSpc>
              <a:buNone/>
            </a:pPr>
            <a:r>
              <a:rPr lang="en-US" sz="1050" dirty="0">
                <a:latin typeface="BauerMedia Sans" pitchFamily="2" charset="77"/>
              </a:rPr>
              <a:t>183,730</a:t>
            </a:r>
            <a:endParaRPr lang="en-US" sz="1050" dirty="0">
              <a:latin typeface="BauerMedia Sans" pitchFamily="2" charset="77"/>
              <a:cs typeface="Consolas" panose="020B0609020204030204" pitchFamily="49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3994BDD-9F3B-796D-617B-C678B20070D3}"/>
              </a:ext>
            </a:extLst>
          </p:cNvPr>
          <p:cNvSpPr/>
          <p:nvPr/>
        </p:nvSpPr>
        <p:spPr>
          <a:xfrm>
            <a:off x="3733912" y="3288552"/>
            <a:ext cx="685800" cy="9127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497EFDC-734F-8DB0-8C78-A10C150DD57B}"/>
              </a:ext>
            </a:extLst>
          </p:cNvPr>
          <p:cNvSpPr txBox="1"/>
          <p:nvPr/>
        </p:nvSpPr>
        <p:spPr>
          <a:xfrm>
            <a:off x="3733196" y="3231961"/>
            <a:ext cx="734496" cy="10367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  <a:buNone/>
            </a:pPr>
            <a:r>
              <a:rPr lang="en-US" sz="1050" dirty="0">
                <a:solidFill>
                  <a:srgbClr val="000000"/>
                </a:solidFill>
                <a:latin typeface="BauerMedia Sans" pitchFamily="2" charset="77"/>
              </a:rPr>
              <a:t>1,301,537</a:t>
            </a:r>
          </a:p>
          <a:p>
            <a:pPr>
              <a:lnSpc>
                <a:spcPct val="150000"/>
              </a:lnSpc>
              <a:buNone/>
            </a:pPr>
            <a:r>
              <a:rPr lang="en-US" sz="1050" dirty="0">
                <a:solidFill>
                  <a:srgbClr val="000000"/>
                </a:solidFill>
                <a:latin typeface="BauerMedia Sans" pitchFamily="2" charset="77"/>
              </a:rPr>
              <a:t>357,074</a:t>
            </a:r>
          </a:p>
          <a:p>
            <a:pPr>
              <a:lnSpc>
                <a:spcPct val="150000"/>
              </a:lnSpc>
              <a:buNone/>
            </a:pPr>
            <a:r>
              <a:rPr lang="en-US" sz="1050" dirty="0">
                <a:solidFill>
                  <a:srgbClr val="000000"/>
                </a:solidFill>
                <a:latin typeface="BauerMedia Sans" pitchFamily="2" charset="77"/>
              </a:rPr>
              <a:t>202,910</a:t>
            </a:r>
          </a:p>
          <a:p>
            <a:pPr>
              <a:lnSpc>
                <a:spcPct val="150000"/>
              </a:lnSpc>
              <a:buNone/>
            </a:pPr>
            <a:r>
              <a:rPr lang="en-US" sz="1050" dirty="0">
                <a:solidFill>
                  <a:srgbClr val="000000"/>
                </a:solidFill>
                <a:latin typeface="BauerMedia Sans" pitchFamily="2" charset="77"/>
              </a:rPr>
              <a:t>49,732</a:t>
            </a:r>
            <a:endParaRPr lang="en-US" sz="1050" dirty="0">
              <a:latin typeface="BauerMedia Sans" pitchFamily="2" charset="77"/>
              <a:cs typeface="Consolas" panose="020B0609020204030204" pitchFamily="49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E1BEC51-AB1E-0C99-9684-8321968856BE}"/>
              </a:ext>
            </a:extLst>
          </p:cNvPr>
          <p:cNvSpPr/>
          <p:nvPr/>
        </p:nvSpPr>
        <p:spPr>
          <a:xfrm>
            <a:off x="4891587" y="3288551"/>
            <a:ext cx="618711" cy="900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7B118D-3C61-E042-A89D-EDA08D2DBC08}"/>
              </a:ext>
            </a:extLst>
          </p:cNvPr>
          <p:cNvSpPr txBox="1"/>
          <p:nvPr/>
        </p:nvSpPr>
        <p:spPr>
          <a:xfrm>
            <a:off x="4858180" y="3215956"/>
            <a:ext cx="734496" cy="10367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  <a:buNone/>
            </a:pPr>
            <a:r>
              <a:rPr lang="en-US" sz="1050" dirty="0">
                <a:solidFill>
                  <a:srgbClr val="000000"/>
                </a:solidFill>
                <a:latin typeface="BauerMedia Sans" pitchFamily="2" charset="77"/>
              </a:rPr>
              <a:t>4,398,000</a:t>
            </a:r>
          </a:p>
          <a:p>
            <a:pPr>
              <a:lnSpc>
                <a:spcPct val="150000"/>
              </a:lnSpc>
              <a:buNone/>
            </a:pPr>
            <a:r>
              <a:rPr lang="en-US" sz="1050" dirty="0">
                <a:solidFill>
                  <a:srgbClr val="000000"/>
                </a:solidFill>
                <a:latin typeface="BauerMedia Sans" pitchFamily="2" charset="77"/>
              </a:rPr>
              <a:t>1,580,900</a:t>
            </a:r>
          </a:p>
          <a:p>
            <a:pPr>
              <a:lnSpc>
                <a:spcPct val="150000"/>
              </a:lnSpc>
              <a:buNone/>
            </a:pPr>
            <a:r>
              <a:rPr lang="en-US" sz="1050" dirty="0">
                <a:solidFill>
                  <a:srgbClr val="000000"/>
                </a:solidFill>
                <a:latin typeface="BauerMedia Sans" pitchFamily="2" charset="77"/>
              </a:rPr>
              <a:t>1,499,069</a:t>
            </a:r>
          </a:p>
          <a:p>
            <a:pPr>
              <a:lnSpc>
                <a:spcPct val="150000"/>
              </a:lnSpc>
              <a:buNone/>
            </a:pPr>
            <a:r>
              <a:rPr lang="en-US" sz="1050" dirty="0">
                <a:solidFill>
                  <a:srgbClr val="000000"/>
                </a:solidFill>
                <a:latin typeface="BauerMedia Sans" pitchFamily="2" charset="77"/>
              </a:rPr>
              <a:t>902,19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D2A9D0-0329-9907-0B68-75F23E4D468A}"/>
              </a:ext>
            </a:extLst>
          </p:cNvPr>
          <p:cNvSpPr/>
          <p:nvPr/>
        </p:nvSpPr>
        <p:spPr>
          <a:xfrm>
            <a:off x="6161801" y="3300524"/>
            <a:ext cx="618711" cy="900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62AA4E5-215B-D4FF-2B47-DFD79162180D}"/>
              </a:ext>
            </a:extLst>
          </p:cNvPr>
          <p:cNvSpPr txBox="1"/>
          <p:nvPr/>
        </p:nvSpPr>
        <p:spPr>
          <a:xfrm>
            <a:off x="6128394" y="3215956"/>
            <a:ext cx="734496" cy="10367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  <a:buNone/>
            </a:pPr>
            <a:r>
              <a:rPr lang="en-US" sz="1050" dirty="0">
                <a:solidFill>
                  <a:srgbClr val="000000"/>
                </a:solidFill>
                <a:latin typeface="BauerMedia Sans" pitchFamily="2" charset="77"/>
              </a:rPr>
              <a:t>1,478,514</a:t>
            </a:r>
          </a:p>
          <a:p>
            <a:pPr>
              <a:lnSpc>
                <a:spcPct val="150000"/>
              </a:lnSpc>
              <a:buNone/>
            </a:pPr>
            <a:r>
              <a:rPr lang="en-US" sz="1050" dirty="0">
                <a:solidFill>
                  <a:srgbClr val="000000"/>
                </a:solidFill>
                <a:latin typeface="BauerMedia Sans" pitchFamily="2" charset="77"/>
              </a:rPr>
              <a:t>279,628</a:t>
            </a:r>
          </a:p>
          <a:p>
            <a:pPr>
              <a:lnSpc>
                <a:spcPct val="150000"/>
              </a:lnSpc>
              <a:buNone/>
            </a:pPr>
            <a:r>
              <a:rPr lang="en-US" sz="1050" dirty="0">
                <a:solidFill>
                  <a:srgbClr val="000000"/>
                </a:solidFill>
                <a:latin typeface="BauerMedia Sans" pitchFamily="2" charset="77"/>
              </a:rPr>
              <a:t>410,675</a:t>
            </a:r>
          </a:p>
          <a:p>
            <a:pPr>
              <a:lnSpc>
                <a:spcPct val="150000"/>
              </a:lnSpc>
              <a:buNone/>
            </a:pPr>
            <a:r>
              <a:rPr lang="en-US" sz="1050" dirty="0">
                <a:solidFill>
                  <a:srgbClr val="000000"/>
                </a:solidFill>
                <a:latin typeface="BauerMedia Sans" pitchFamily="2" charset="77"/>
              </a:rPr>
              <a:t>131,685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565F871-6136-CA48-55DB-0523EE444A60}"/>
              </a:ext>
            </a:extLst>
          </p:cNvPr>
          <p:cNvSpPr/>
          <p:nvPr/>
        </p:nvSpPr>
        <p:spPr>
          <a:xfrm>
            <a:off x="3522906" y="1677544"/>
            <a:ext cx="834023" cy="8942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8F72E40A-E469-FB72-2A2D-DAFB289D5A7F}"/>
              </a:ext>
            </a:extLst>
          </p:cNvPr>
          <p:cNvGraphicFramePr/>
          <p:nvPr/>
        </p:nvGraphicFramePr>
        <p:xfrm>
          <a:off x="3266785" y="1723228"/>
          <a:ext cx="1274907" cy="849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7" name="Oval 16">
            <a:extLst>
              <a:ext uri="{FF2B5EF4-FFF2-40B4-BE49-F238E27FC236}">
                <a16:creationId xmlns:a16="http://schemas.microsoft.com/office/drawing/2014/main" id="{76E044E2-6392-F13E-C600-75F4AB8C5F90}"/>
              </a:ext>
            </a:extLst>
          </p:cNvPr>
          <p:cNvSpPr/>
          <p:nvPr/>
        </p:nvSpPr>
        <p:spPr>
          <a:xfrm>
            <a:off x="3854850" y="2105227"/>
            <a:ext cx="98777" cy="98777"/>
          </a:xfrm>
          <a:prstGeom prst="ellipse">
            <a:avLst/>
          </a:prstGeom>
          <a:solidFill>
            <a:srgbClr val="060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24C607E8-36FB-F8F7-BA87-80F4606494B5}"/>
              </a:ext>
            </a:extLst>
          </p:cNvPr>
          <p:cNvGraphicFramePr/>
          <p:nvPr/>
        </p:nvGraphicFramePr>
        <p:xfrm>
          <a:off x="3915810" y="1386690"/>
          <a:ext cx="2273545" cy="15156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0" name="Oval 19">
            <a:extLst>
              <a:ext uri="{FF2B5EF4-FFF2-40B4-BE49-F238E27FC236}">
                <a16:creationId xmlns:a16="http://schemas.microsoft.com/office/drawing/2014/main" id="{F00FF73C-A1F1-BBB3-120B-63C89A10DC6A}"/>
              </a:ext>
            </a:extLst>
          </p:cNvPr>
          <p:cNvSpPr/>
          <p:nvPr/>
        </p:nvSpPr>
        <p:spPr>
          <a:xfrm>
            <a:off x="4922426" y="2013520"/>
            <a:ext cx="255983" cy="255983"/>
          </a:xfrm>
          <a:prstGeom prst="ellipse">
            <a:avLst/>
          </a:prstGeom>
          <a:solidFill>
            <a:srgbClr val="060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E62AE56-522B-230A-DA7E-D0494CFC1B89}"/>
              </a:ext>
            </a:extLst>
          </p:cNvPr>
          <p:cNvSpPr/>
          <p:nvPr/>
        </p:nvSpPr>
        <p:spPr>
          <a:xfrm>
            <a:off x="5846454" y="1668043"/>
            <a:ext cx="934058" cy="9158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4881C409-B13F-2169-09B1-05755E0250CE}"/>
              </a:ext>
            </a:extLst>
          </p:cNvPr>
          <p:cNvGraphicFramePr/>
          <p:nvPr/>
        </p:nvGraphicFramePr>
        <p:xfrm>
          <a:off x="5649982" y="1698106"/>
          <a:ext cx="1373771" cy="915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4" name="Oval 23">
            <a:extLst>
              <a:ext uri="{FF2B5EF4-FFF2-40B4-BE49-F238E27FC236}">
                <a16:creationId xmlns:a16="http://schemas.microsoft.com/office/drawing/2014/main" id="{5969CF25-F2C4-B98C-6B8B-59BA9A1F060C}"/>
              </a:ext>
            </a:extLst>
          </p:cNvPr>
          <p:cNvSpPr/>
          <p:nvPr/>
        </p:nvSpPr>
        <p:spPr>
          <a:xfrm>
            <a:off x="6270154" y="2086988"/>
            <a:ext cx="139061" cy="139061"/>
          </a:xfrm>
          <a:prstGeom prst="ellipse">
            <a:avLst/>
          </a:prstGeom>
          <a:solidFill>
            <a:srgbClr val="060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616BF10-1B59-350D-FFEE-2BECB257567C}"/>
              </a:ext>
            </a:extLst>
          </p:cNvPr>
          <p:cNvSpPr/>
          <p:nvPr/>
        </p:nvSpPr>
        <p:spPr>
          <a:xfrm>
            <a:off x="2235913" y="444994"/>
            <a:ext cx="4787840" cy="656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5755C5D-CF0A-2314-A7FB-0D419336CBC8}"/>
              </a:ext>
            </a:extLst>
          </p:cNvPr>
          <p:cNvSpPr txBox="1"/>
          <p:nvPr/>
        </p:nvSpPr>
        <p:spPr>
          <a:xfrm>
            <a:off x="264695" y="408293"/>
            <a:ext cx="85689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100" dirty="0">
                <a:latin typeface="BauerMedia Sans" pitchFamily="2" charset="77"/>
              </a:rPr>
              <a:t>Radio is the original social media.</a:t>
            </a:r>
          </a:p>
          <a:p>
            <a:pPr algn="ctr"/>
            <a:r>
              <a:rPr lang="en-US" sz="2100" dirty="0">
                <a:latin typeface="BauerMedia Sans" pitchFamily="2" charset="77"/>
              </a:rPr>
              <a:t>Irish radio has over </a:t>
            </a:r>
            <a:r>
              <a:rPr lang="en-US" sz="2100" b="1" dirty="0">
                <a:solidFill>
                  <a:srgbClr val="0600FF"/>
                </a:solidFill>
                <a:latin typeface="BauerMedia Sans" pitchFamily="2" charset="77"/>
              </a:rPr>
              <a:t>14.8 million </a:t>
            </a:r>
            <a:r>
              <a:rPr lang="en-US" sz="2100" dirty="0">
                <a:latin typeface="BauerMedia Sans" pitchFamily="2" charset="77"/>
              </a:rPr>
              <a:t>connections.</a:t>
            </a:r>
          </a:p>
        </p:txBody>
      </p: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6E3AC730-15F0-A903-38AE-561C7082524F}"/>
              </a:ext>
            </a:extLst>
          </p:cNvPr>
          <p:cNvGraphicFramePr/>
          <p:nvPr/>
        </p:nvGraphicFramePr>
        <p:xfrm>
          <a:off x="3911436" y="1388891"/>
          <a:ext cx="2277918" cy="1518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2F151196-CE71-9FF4-B28D-091209A05284}"/>
              </a:ext>
            </a:extLst>
          </p:cNvPr>
          <p:cNvSpPr/>
          <p:nvPr/>
        </p:nvSpPr>
        <p:spPr>
          <a:xfrm>
            <a:off x="2125980" y="3024358"/>
            <a:ext cx="5143500" cy="1775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E09A64D-03AD-5BC3-16B3-4CA388A75DA0}"/>
              </a:ext>
            </a:extLst>
          </p:cNvPr>
          <p:cNvSpPr txBox="1"/>
          <p:nvPr/>
        </p:nvSpPr>
        <p:spPr>
          <a:xfrm>
            <a:off x="6118538" y="3016564"/>
            <a:ext cx="42511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latin typeface="BauerMedia Sans" pitchFamily="2" charset="77"/>
              </a:rPr>
              <a:t>ONIC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00CD49A-BDF1-8B50-D4E0-E6D8524B5590}"/>
              </a:ext>
            </a:extLst>
          </p:cNvPr>
          <p:cNvSpPr txBox="1"/>
          <p:nvPr/>
        </p:nvSpPr>
        <p:spPr>
          <a:xfrm>
            <a:off x="4606644" y="3009518"/>
            <a:ext cx="84991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latin typeface="BauerMedia Sans" pitchFamily="2" charset="77"/>
              </a:rPr>
              <a:t>Media Centra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2BD3A75-4257-6CA7-457C-C005254B5999}"/>
              </a:ext>
            </a:extLst>
          </p:cNvPr>
          <p:cNvSpPr txBox="1"/>
          <p:nvPr/>
        </p:nvSpPr>
        <p:spPr>
          <a:xfrm>
            <a:off x="3759342" y="3007983"/>
            <a:ext cx="38664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latin typeface="BauerMedia Sans" pitchFamily="2" charset="77"/>
              </a:rPr>
              <a:t>IRS+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54ABB80-7444-AABC-5852-BB432B21DB53}"/>
              </a:ext>
            </a:extLst>
          </p:cNvPr>
          <p:cNvSpPr txBox="1"/>
          <p:nvPr/>
        </p:nvSpPr>
        <p:spPr>
          <a:xfrm>
            <a:off x="2530390" y="3016304"/>
            <a:ext cx="50687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latin typeface="BauerMedia Sans" pitchFamily="2" charset="77"/>
              </a:rPr>
              <a:t>All RTÉ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69DB438-1A3E-8B9E-E365-3D201DAE0D09}"/>
              </a:ext>
            </a:extLst>
          </p:cNvPr>
          <p:cNvSpPr/>
          <p:nvPr/>
        </p:nvSpPr>
        <p:spPr>
          <a:xfrm>
            <a:off x="264695" y="4189344"/>
            <a:ext cx="1007845" cy="635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pic>
        <p:nvPicPr>
          <p:cNvPr id="34" name="Ipsos Logo">
            <a:extLst>
              <a:ext uri="{FF2B5EF4-FFF2-40B4-BE49-F238E27FC236}">
                <a16:creationId xmlns:a16="http://schemas.microsoft.com/office/drawing/2014/main" id="{BA4A5831-69F0-FFD5-EA37-3EBA6FA601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71326" y="4596135"/>
            <a:ext cx="938214" cy="446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24798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b="1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112CB1C-9499-9AB1-2CBC-B1EB6E42CA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B4205B29-A3E2-90EC-36FE-0503045023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38</a:t>
            </a:fld>
            <a:r>
              <a:rPr lang="en-GB" dirty="0"/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3A12984-AF69-E531-24E6-B1CAB36AADDF}"/>
              </a:ext>
            </a:extLst>
          </p:cNvPr>
          <p:cNvSpPr txBox="1"/>
          <p:nvPr/>
        </p:nvSpPr>
        <p:spPr>
          <a:xfrm>
            <a:off x="5715612" y="2104733"/>
            <a:ext cx="1871025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/>
            <a:r>
              <a:rPr lang="en-IE" sz="3200" b="1" dirty="0">
                <a:solidFill>
                  <a:schemeClr val="bg1"/>
                </a:solidFill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453839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7AE2EDF-1DEA-47AB-9DE5-EAEE3A450C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590" y="0"/>
            <a:ext cx="8536821" cy="448056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r>
              <a:rPr lang="en-GB" sz="2000" dirty="0"/>
              <a:t>Sales House Composition</a:t>
            </a:r>
            <a:endParaRPr lang="en-IE" sz="2000" dirty="0"/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84DB8BDE-B114-40F9-BC8A-CECF9DFDC70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787872"/>
              </p:ext>
            </p:extLst>
          </p:nvPr>
        </p:nvGraphicFramePr>
        <p:xfrm>
          <a:off x="475066" y="1032946"/>
          <a:ext cx="8126613" cy="37650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Freeform 9">
            <a:extLst>
              <a:ext uri="{FF2B5EF4-FFF2-40B4-BE49-F238E27FC236}">
                <a16:creationId xmlns:a16="http://schemas.microsoft.com/office/drawing/2014/main" id="{E4448345-B644-4A69-AC8E-2E88AEAA858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99196" y="759907"/>
            <a:ext cx="274320" cy="279806"/>
          </a:xfrm>
          <a:custGeom>
            <a:avLst/>
            <a:gdLst/>
            <a:ahLst/>
            <a:cxnLst>
              <a:cxn ang="0">
                <a:pos x="534" y="141"/>
              </a:cxn>
              <a:cxn ang="0">
                <a:pos x="413" y="141"/>
              </a:cxn>
              <a:cxn ang="0">
                <a:pos x="390" y="122"/>
              </a:cxn>
              <a:cxn ang="0">
                <a:pos x="461" y="25"/>
              </a:cxn>
              <a:cxn ang="0">
                <a:pos x="458" y="5"/>
              </a:cxn>
              <a:cxn ang="0">
                <a:pos x="438" y="8"/>
              </a:cxn>
              <a:cxn ang="0">
                <a:pos x="364" y="109"/>
              </a:cxn>
              <a:cxn ang="0">
                <a:pos x="333" y="104"/>
              </a:cxn>
              <a:cxn ang="0">
                <a:pos x="302" y="109"/>
              </a:cxn>
              <a:cxn ang="0">
                <a:pos x="228" y="8"/>
              </a:cxn>
              <a:cxn ang="0">
                <a:pos x="208" y="5"/>
              </a:cxn>
              <a:cxn ang="0">
                <a:pos x="205" y="25"/>
              </a:cxn>
              <a:cxn ang="0">
                <a:pos x="276" y="122"/>
              </a:cxn>
              <a:cxn ang="0">
                <a:pos x="253" y="141"/>
              </a:cxn>
              <a:cxn ang="0">
                <a:pos x="116" y="141"/>
              </a:cxn>
              <a:cxn ang="0">
                <a:pos x="0" y="257"/>
              </a:cxn>
              <a:cxn ang="0">
                <a:pos x="0" y="521"/>
              </a:cxn>
              <a:cxn ang="0">
                <a:pos x="111" y="637"/>
              </a:cxn>
              <a:cxn ang="0">
                <a:pos x="119" y="662"/>
              </a:cxn>
              <a:cxn ang="0">
                <a:pos x="142" y="662"/>
              </a:cxn>
              <a:cxn ang="0">
                <a:pos x="149" y="638"/>
              </a:cxn>
              <a:cxn ang="0">
                <a:pos x="501" y="638"/>
              </a:cxn>
              <a:cxn ang="0">
                <a:pos x="508" y="662"/>
              </a:cxn>
              <a:cxn ang="0">
                <a:pos x="531" y="662"/>
              </a:cxn>
              <a:cxn ang="0">
                <a:pos x="538" y="638"/>
              </a:cxn>
              <a:cxn ang="0">
                <a:pos x="650" y="522"/>
              </a:cxn>
              <a:cxn ang="0">
                <a:pos x="650" y="258"/>
              </a:cxn>
              <a:cxn ang="0">
                <a:pos x="534" y="141"/>
              </a:cxn>
              <a:cxn ang="0">
                <a:pos x="542" y="517"/>
              </a:cxn>
              <a:cxn ang="0">
                <a:pos x="486" y="573"/>
              </a:cxn>
              <a:cxn ang="0">
                <a:pos x="122" y="573"/>
              </a:cxn>
              <a:cxn ang="0">
                <a:pos x="65" y="517"/>
              </a:cxn>
              <a:cxn ang="0">
                <a:pos x="65" y="261"/>
              </a:cxn>
              <a:cxn ang="0">
                <a:pos x="122" y="205"/>
              </a:cxn>
              <a:cxn ang="0">
                <a:pos x="486" y="205"/>
              </a:cxn>
              <a:cxn ang="0">
                <a:pos x="542" y="261"/>
              </a:cxn>
              <a:cxn ang="0">
                <a:pos x="542" y="517"/>
              </a:cxn>
              <a:cxn ang="0">
                <a:pos x="595" y="501"/>
              </a:cxn>
              <a:cxn ang="0">
                <a:pos x="571" y="477"/>
              </a:cxn>
              <a:cxn ang="0">
                <a:pos x="595" y="453"/>
              </a:cxn>
              <a:cxn ang="0">
                <a:pos x="618" y="477"/>
              </a:cxn>
              <a:cxn ang="0">
                <a:pos x="595" y="501"/>
              </a:cxn>
              <a:cxn ang="0">
                <a:pos x="595" y="420"/>
              </a:cxn>
              <a:cxn ang="0">
                <a:pos x="571" y="396"/>
              </a:cxn>
              <a:cxn ang="0">
                <a:pos x="595" y="373"/>
              </a:cxn>
              <a:cxn ang="0">
                <a:pos x="618" y="396"/>
              </a:cxn>
              <a:cxn ang="0">
                <a:pos x="595" y="420"/>
              </a:cxn>
              <a:cxn ang="0">
                <a:pos x="595" y="338"/>
              </a:cxn>
              <a:cxn ang="0">
                <a:pos x="571" y="314"/>
              </a:cxn>
              <a:cxn ang="0">
                <a:pos x="595" y="290"/>
              </a:cxn>
              <a:cxn ang="0">
                <a:pos x="618" y="314"/>
              </a:cxn>
              <a:cxn ang="0">
                <a:pos x="595" y="338"/>
              </a:cxn>
            </a:cxnLst>
            <a:rect l="0" t="0" r="r" b="b"/>
            <a:pathLst>
              <a:path w="650" h="662">
                <a:moveTo>
                  <a:pt x="534" y="141"/>
                </a:moveTo>
                <a:cubicBezTo>
                  <a:pt x="413" y="141"/>
                  <a:pt x="413" y="141"/>
                  <a:pt x="413" y="141"/>
                </a:cubicBezTo>
                <a:cubicBezTo>
                  <a:pt x="406" y="133"/>
                  <a:pt x="399" y="127"/>
                  <a:pt x="390" y="122"/>
                </a:cubicBezTo>
                <a:cubicBezTo>
                  <a:pt x="461" y="25"/>
                  <a:pt x="461" y="25"/>
                  <a:pt x="461" y="25"/>
                </a:cubicBezTo>
                <a:cubicBezTo>
                  <a:pt x="466" y="19"/>
                  <a:pt x="465" y="10"/>
                  <a:pt x="458" y="5"/>
                </a:cubicBezTo>
                <a:cubicBezTo>
                  <a:pt x="452" y="0"/>
                  <a:pt x="443" y="1"/>
                  <a:pt x="438" y="8"/>
                </a:cubicBezTo>
                <a:cubicBezTo>
                  <a:pt x="364" y="109"/>
                  <a:pt x="364" y="109"/>
                  <a:pt x="364" y="109"/>
                </a:cubicBezTo>
                <a:cubicBezTo>
                  <a:pt x="354" y="106"/>
                  <a:pt x="344" y="104"/>
                  <a:pt x="333" y="104"/>
                </a:cubicBezTo>
                <a:cubicBezTo>
                  <a:pt x="322" y="104"/>
                  <a:pt x="312" y="106"/>
                  <a:pt x="302" y="109"/>
                </a:cubicBezTo>
                <a:cubicBezTo>
                  <a:pt x="228" y="8"/>
                  <a:pt x="228" y="8"/>
                  <a:pt x="228" y="8"/>
                </a:cubicBezTo>
                <a:cubicBezTo>
                  <a:pt x="223" y="1"/>
                  <a:pt x="214" y="0"/>
                  <a:pt x="208" y="5"/>
                </a:cubicBezTo>
                <a:cubicBezTo>
                  <a:pt x="201" y="10"/>
                  <a:pt x="200" y="19"/>
                  <a:pt x="205" y="25"/>
                </a:cubicBezTo>
                <a:cubicBezTo>
                  <a:pt x="276" y="122"/>
                  <a:pt x="276" y="122"/>
                  <a:pt x="276" y="122"/>
                </a:cubicBezTo>
                <a:cubicBezTo>
                  <a:pt x="267" y="127"/>
                  <a:pt x="259" y="133"/>
                  <a:pt x="253" y="141"/>
                </a:cubicBezTo>
                <a:cubicBezTo>
                  <a:pt x="116" y="141"/>
                  <a:pt x="116" y="141"/>
                  <a:pt x="116" y="141"/>
                </a:cubicBezTo>
                <a:cubicBezTo>
                  <a:pt x="52" y="141"/>
                  <a:pt x="0" y="193"/>
                  <a:pt x="0" y="257"/>
                </a:cubicBezTo>
                <a:cubicBezTo>
                  <a:pt x="0" y="521"/>
                  <a:pt x="0" y="521"/>
                  <a:pt x="0" y="521"/>
                </a:cubicBezTo>
                <a:cubicBezTo>
                  <a:pt x="0" y="584"/>
                  <a:pt x="49" y="635"/>
                  <a:pt x="111" y="637"/>
                </a:cubicBezTo>
                <a:cubicBezTo>
                  <a:pt x="119" y="662"/>
                  <a:pt x="119" y="662"/>
                  <a:pt x="119" y="662"/>
                </a:cubicBezTo>
                <a:cubicBezTo>
                  <a:pt x="142" y="662"/>
                  <a:pt x="142" y="662"/>
                  <a:pt x="142" y="662"/>
                </a:cubicBezTo>
                <a:cubicBezTo>
                  <a:pt x="149" y="638"/>
                  <a:pt x="149" y="638"/>
                  <a:pt x="149" y="638"/>
                </a:cubicBezTo>
                <a:cubicBezTo>
                  <a:pt x="501" y="638"/>
                  <a:pt x="501" y="638"/>
                  <a:pt x="501" y="638"/>
                </a:cubicBezTo>
                <a:cubicBezTo>
                  <a:pt x="508" y="662"/>
                  <a:pt x="508" y="662"/>
                  <a:pt x="508" y="662"/>
                </a:cubicBezTo>
                <a:cubicBezTo>
                  <a:pt x="531" y="662"/>
                  <a:pt x="531" y="662"/>
                  <a:pt x="531" y="662"/>
                </a:cubicBezTo>
                <a:cubicBezTo>
                  <a:pt x="538" y="638"/>
                  <a:pt x="538" y="638"/>
                  <a:pt x="538" y="638"/>
                </a:cubicBezTo>
                <a:cubicBezTo>
                  <a:pt x="600" y="636"/>
                  <a:pt x="650" y="585"/>
                  <a:pt x="650" y="522"/>
                </a:cubicBezTo>
                <a:cubicBezTo>
                  <a:pt x="650" y="258"/>
                  <a:pt x="650" y="258"/>
                  <a:pt x="650" y="258"/>
                </a:cubicBezTo>
                <a:cubicBezTo>
                  <a:pt x="650" y="193"/>
                  <a:pt x="598" y="141"/>
                  <a:pt x="534" y="141"/>
                </a:cubicBezTo>
                <a:close/>
                <a:moveTo>
                  <a:pt x="542" y="517"/>
                </a:moveTo>
                <a:cubicBezTo>
                  <a:pt x="542" y="548"/>
                  <a:pt x="517" y="573"/>
                  <a:pt x="486" y="573"/>
                </a:cubicBezTo>
                <a:cubicBezTo>
                  <a:pt x="122" y="573"/>
                  <a:pt x="122" y="573"/>
                  <a:pt x="122" y="573"/>
                </a:cubicBezTo>
                <a:cubicBezTo>
                  <a:pt x="91" y="573"/>
                  <a:pt x="65" y="548"/>
                  <a:pt x="65" y="517"/>
                </a:cubicBezTo>
                <a:cubicBezTo>
                  <a:pt x="65" y="261"/>
                  <a:pt x="65" y="261"/>
                  <a:pt x="65" y="261"/>
                </a:cubicBezTo>
                <a:cubicBezTo>
                  <a:pt x="65" y="230"/>
                  <a:pt x="91" y="205"/>
                  <a:pt x="122" y="205"/>
                </a:cubicBezTo>
                <a:cubicBezTo>
                  <a:pt x="486" y="205"/>
                  <a:pt x="486" y="205"/>
                  <a:pt x="486" y="205"/>
                </a:cubicBezTo>
                <a:cubicBezTo>
                  <a:pt x="517" y="205"/>
                  <a:pt x="542" y="230"/>
                  <a:pt x="542" y="261"/>
                </a:cubicBezTo>
                <a:lnTo>
                  <a:pt x="542" y="517"/>
                </a:lnTo>
                <a:close/>
                <a:moveTo>
                  <a:pt x="595" y="501"/>
                </a:moveTo>
                <a:cubicBezTo>
                  <a:pt x="582" y="501"/>
                  <a:pt x="571" y="490"/>
                  <a:pt x="571" y="477"/>
                </a:cubicBezTo>
                <a:cubicBezTo>
                  <a:pt x="571" y="464"/>
                  <a:pt x="582" y="453"/>
                  <a:pt x="595" y="453"/>
                </a:cubicBezTo>
                <a:cubicBezTo>
                  <a:pt x="608" y="453"/>
                  <a:pt x="618" y="464"/>
                  <a:pt x="618" y="477"/>
                </a:cubicBezTo>
                <a:cubicBezTo>
                  <a:pt x="618" y="490"/>
                  <a:pt x="608" y="501"/>
                  <a:pt x="595" y="501"/>
                </a:cubicBezTo>
                <a:close/>
                <a:moveTo>
                  <a:pt x="595" y="420"/>
                </a:moveTo>
                <a:cubicBezTo>
                  <a:pt x="582" y="420"/>
                  <a:pt x="571" y="410"/>
                  <a:pt x="571" y="396"/>
                </a:cubicBezTo>
                <a:cubicBezTo>
                  <a:pt x="571" y="383"/>
                  <a:pt x="582" y="373"/>
                  <a:pt x="595" y="373"/>
                </a:cubicBezTo>
                <a:cubicBezTo>
                  <a:pt x="608" y="373"/>
                  <a:pt x="618" y="383"/>
                  <a:pt x="618" y="396"/>
                </a:cubicBezTo>
                <a:cubicBezTo>
                  <a:pt x="618" y="410"/>
                  <a:pt x="608" y="420"/>
                  <a:pt x="595" y="420"/>
                </a:cubicBezTo>
                <a:close/>
                <a:moveTo>
                  <a:pt x="595" y="338"/>
                </a:moveTo>
                <a:cubicBezTo>
                  <a:pt x="582" y="338"/>
                  <a:pt x="571" y="327"/>
                  <a:pt x="571" y="314"/>
                </a:cubicBezTo>
                <a:cubicBezTo>
                  <a:pt x="571" y="301"/>
                  <a:pt x="582" y="290"/>
                  <a:pt x="595" y="290"/>
                </a:cubicBezTo>
                <a:cubicBezTo>
                  <a:pt x="608" y="290"/>
                  <a:pt x="618" y="301"/>
                  <a:pt x="618" y="314"/>
                </a:cubicBezTo>
                <a:cubicBezTo>
                  <a:pt x="618" y="327"/>
                  <a:pt x="608" y="338"/>
                  <a:pt x="595" y="338"/>
                </a:cubicBezTo>
                <a:close/>
              </a:path>
            </a:pathLst>
          </a:custGeom>
          <a:solidFill>
            <a:sysClr val="window" lastClr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AC0FE1D9-3F5B-88AF-54AC-1BA6FD23C8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39</a:t>
            </a:fld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23922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Title 71">
            <a:extLst>
              <a:ext uri="{FF2B5EF4-FFF2-40B4-BE49-F238E27FC236}">
                <a16:creationId xmlns:a16="http://schemas.microsoft.com/office/drawing/2014/main" id="{E36EC83E-DBCD-428F-BEE1-E8F2E0AE8D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>
                <a:solidFill>
                  <a:srgbClr val="7F7F7F"/>
                </a:solidFill>
              </a:rPr>
              <a:t>Radio Today </a:t>
            </a:r>
          </a:p>
        </p:txBody>
      </p:sp>
      <p:sp>
        <p:nvSpPr>
          <p:cNvPr id="77" name="Text Placeholder 73">
            <a:extLst>
              <a:ext uri="{FF2B5EF4-FFF2-40B4-BE49-F238E27FC236}">
                <a16:creationId xmlns:a16="http://schemas.microsoft.com/office/drawing/2014/main" id="{6B06536D-E105-4A79-A8B5-C33DBACF4915}"/>
              </a:ext>
            </a:extLst>
          </p:cNvPr>
          <p:cNvSpPr txBox="1">
            <a:spLocks/>
          </p:cNvSpPr>
          <p:nvPr/>
        </p:nvSpPr>
        <p:spPr>
          <a:xfrm>
            <a:off x="445829" y="415232"/>
            <a:ext cx="7163984" cy="276999"/>
          </a:xfrm>
          <a:prstGeom prst="rect">
            <a:avLst/>
          </a:prstGeom>
          <a:noFill/>
        </p:spPr>
        <p:txBody>
          <a:bodyPr vert="horz" wrap="square" lIns="0" tIns="45720" rIns="0" bIns="0" rtlCol="0" anchor="t">
            <a:spAutoFit/>
          </a:bodyPr>
          <a:lstStyle>
            <a:defPPr>
              <a:defRPr lang="en-US"/>
            </a:defPPr>
            <a:lvl1pPr marR="0" lvl="0" indent="0" defTabSz="685800" fontAlgn="auto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F2664B"/>
                </a:solidFill>
                <a:effectLst/>
                <a:uLnTx/>
                <a:uFillTx/>
                <a:latin typeface="Arial"/>
              </a:defRPr>
            </a:lvl1pPr>
            <a:lvl2pPr marL="335756" indent="-235744" defTabSz="685800">
              <a:lnSpc>
                <a:spcPct val="90000"/>
              </a:lnSpc>
              <a:spcBef>
                <a:spcPts val="450"/>
              </a:spcBef>
              <a:buSzPct val="80000"/>
              <a:buFontTx/>
              <a:buBlip>
                <a:blip r:embed="rId2"/>
              </a:buBlip>
              <a:defRPr sz="1200">
                <a:solidFill>
                  <a:schemeClr val="bg2"/>
                </a:solidFill>
              </a:defRPr>
            </a:lvl2pPr>
            <a:lvl3pPr marL="535781" indent="-128588" defTabSz="68580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‒"/>
              <a:defRPr sz="1050">
                <a:solidFill>
                  <a:schemeClr val="bg2"/>
                </a:solidFill>
              </a:defRPr>
            </a:lvl3pPr>
            <a:lvl4pPr marL="740569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>
                <a:solidFill>
                  <a:schemeClr val="bg2"/>
                </a:solidFill>
              </a:defRPr>
            </a:lvl4pPr>
            <a:lvl5pPr marL="946547" indent="-171450" defTabSz="685800">
              <a:lnSpc>
                <a:spcPct val="90000"/>
              </a:lnSpc>
              <a:spcBef>
                <a:spcPts val="375"/>
              </a:spcBef>
              <a:buFont typeface="HelveticaNeueLT Std Lt Cn" panose="020B0406020202030204" pitchFamily="34" charset="0"/>
              <a:buChar char="−"/>
              <a:defRPr sz="788">
                <a:solidFill>
                  <a:schemeClr val="bg2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r>
              <a:rPr lang="en-IE" dirty="0">
                <a:solidFill>
                  <a:schemeClr val="accent2"/>
                </a:solidFill>
              </a:rPr>
              <a:t>Almost 3.5 million Irish adults listen to radio on an average day </a:t>
            </a:r>
          </a:p>
        </p:txBody>
      </p:sp>
      <p:sp>
        <p:nvSpPr>
          <p:cNvPr id="78" name="Text Placeholder 74">
            <a:extLst>
              <a:ext uri="{FF2B5EF4-FFF2-40B4-BE49-F238E27FC236}">
                <a16:creationId xmlns:a16="http://schemas.microsoft.com/office/drawing/2014/main" id="{1F642700-04C2-4BF0-958C-123C21073975}"/>
              </a:ext>
            </a:extLst>
          </p:cNvPr>
          <p:cNvSpPr txBox="1">
            <a:spLocks/>
          </p:cNvSpPr>
          <p:nvPr/>
        </p:nvSpPr>
        <p:spPr>
          <a:xfrm>
            <a:off x="181228" y="4520349"/>
            <a:ext cx="6515100" cy="2769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64294" indent="-64294" defTabSz="685800">
              <a:lnSpc>
                <a:spcPct val="90000"/>
              </a:lnSpc>
              <a:spcBef>
                <a:spcPts val="1350"/>
              </a:spcBef>
              <a:buSzPct val="50000"/>
              <a:buFont typeface="HelveticaNeueLT Std Lt Cn" panose="020B0406020202030204" pitchFamily="34" charset="0"/>
              <a:buChar char=" "/>
              <a:tabLst>
                <a:tab pos="6226175" algn="r"/>
                <a:tab pos="6518275" algn="r"/>
              </a:tabLst>
              <a:defRPr lang="en-GB" sz="1350" b="0" dirty="0">
                <a:solidFill>
                  <a:srgbClr val="888B8D">
                    <a:lumMod val="50000"/>
                  </a:srgbClr>
                </a:solidFill>
              </a:defRPr>
            </a:lvl1pPr>
            <a:lvl2pPr marL="335756" indent="-235744" defTabSz="685800">
              <a:lnSpc>
                <a:spcPct val="90000"/>
              </a:lnSpc>
              <a:spcBef>
                <a:spcPts val="450"/>
              </a:spcBef>
              <a:buSzPct val="80000"/>
              <a:buFontTx/>
              <a:buBlip>
                <a:blip r:embed="rId2"/>
              </a:buBlip>
              <a:defRPr lang="en-GB" sz="1200" dirty="0">
                <a:solidFill>
                  <a:schemeClr val="bg2"/>
                </a:solidFill>
              </a:defRPr>
            </a:lvl2pPr>
            <a:lvl3pPr marL="535781" indent="-128588" defTabSz="68580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‒"/>
              <a:defRPr lang="en-GB" sz="1050" dirty="0">
                <a:solidFill>
                  <a:schemeClr val="bg2"/>
                </a:solidFill>
              </a:defRPr>
            </a:lvl3pPr>
            <a:lvl4pPr marL="740569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>
                <a:solidFill>
                  <a:schemeClr val="bg2"/>
                </a:solidFill>
              </a:defRPr>
            </a:lvl4pPr>
            <a:lvl5pPr marL="946547" indent="-171450" defTabSz="685800">
              <a:lnSpc>
                <a:spcPct val="90000"/>
              </a:lnSpc>
              <a:spcBef>
                <a:spcPts val="375"/>
              </a:spcBef>
              <a:buFont typeface="HelveticaNeueLT Std Lt Cn" panose="020B0406020202030204" pitchFamily="34" charset="0"/>
              <a:buChar char="−"/>
              <a:defRPr sz="788">
                <a:solidFill>
                  <a:schemeClr val="bg2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64294" marR="0" lvl="0" indent="-64294" algn="l" defTabSz="685800" rtl="0" eaLnBrk="1" fontAlgn="auto" latinLnBrk="0" hangingPunct="1">
              <a:lnSpc>
                <a:spcPct val="90000"/>
              </a:lnSpc>
              <a:spcBef>
                <a:spcPts val="135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>
                <a:tab pos="6226175" algn="r"/>
                <a:tab pos="6518275" algn="r"/>
              </a:tabLst>
              <a:defRPr/>
            </a:pP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 JNLR National Report 2025-3	</a:t>
            </a:r>
            <a:r>
              <a:rPr kumimoji="0" lang="en-IE" sz="7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 Average time spent among listeners 7am-midnight</a:t>
            </a:r>
          </a:p>
        </p:txBody>
      </p:sp>
      <p:sp>
        <p:nvSpPr>
          <p:cNvPr id="79" name="Left Bracket 78">
            <a:extLst>
              <a:ext uri="{FF2B5EF4-FFF2-40B4-BE49-F238E27FC236}">
                <a16:creationId xmlns:a16="http://schemas.microsoft.com/office/drawing/2014/main" id="{E46D6441-FEAD-4D03-9042-D497CAD7C80A}"/>
              </a:ext>
            </a:extLst>
          </p:cNvPr>
          <p:cNvSpPr/>
          <p:nvPr/>
        </p:nvSpPr>
        <p:spPr>
          <a:xfrm rot="5400000">
            <a:off x="2897173" y="-268756"/>
            <a:ext cx="207510" cy="2743200"/>
          </a:xfrm>
          <a:prstGeom prst="leftBracket">
            <a:avLst/>
          </a:prstGeom>
          <a:noFill/>
          <a:ln w="12700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800" b="0" i="0" u="none" strike="noStrike" kern="1200" cap="none" spc="0" normalizeH="0" baseline="0" noProof="0" dirty="0">
              <a:ln>
                <a:noFill/>
              </a:ln>
              <a:solidFill>
                <a:srgbClr val="5F5F5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0" name="Chart 79">
            <a:extLst>
              <a:ext uri="{FF2B5EF4-FFF2-40B4-BE49-F238E27FC236}">
                <a16:creationId xmlns:a16="http://schemas.microsoft.com/office/drawing/2014/main" id="{D0FB134E-AFE6-4462-BB28-EA07A55C69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4253062"/>
              </p:ext>
            </p:extLst>
          </p:nvPr>
        </p:nvGraphicFramePr>
        <p:xfrm>
          <a:off x="234000" y="1392250"/>
          <a:ext cx="8831342" cy="2546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85" name="Group 59">
            <a:extLst>
              <a:ext uri="{FF2B5EF4-FFF2-40B4-BE49-F238E27FC236}">
                <a16:creationId xmlns:a16="http://schemas.microsoft.com/office/drawing/2014/main" id="{4D9655BA-40E2-4E26-85DD-CC691BB9108C}"/>
              </a:ext>
            </a:extLst>
          </p:cNvPr>
          <p:cNvGrpSpPr>
            <a:grpSpLocks noChangeAspect="1"/>
          </p:cNvGrpSpPr>
          <p:nvPr/>
        </p:nvGrpSpPr>
        <p:grpSpPr>
          <a:xfrm>
            <a:off x="439380" y="1650690"/>
            <a:ext cx="595184" cy="408587"/>
            <a:chOff x="6684963" y="3937000"/>
            <a:chExt cx="1174750" cy="806450"/>
          </a:xfrm>
          <a:solidFill>
            <a:schemeClr val="tx1"/>
          </a:solidFill>
        </p:grpSpPr>
        <p:sp>
          <p:nvSpPr>
            <p:cNvPr id="86" name="Freeform 90">
              <a:extLst>
                <a:ext uri="{FF2B5EF4-FFF2-40B4-BE49-F238E27FC236}">
                  <a16:creationId xmlns:a16="http://schemas.microsoft.com/office/drawing/2014/main" id="{FAB8477B-3660-4BC4-AE22-B337888B82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0138" y="3937000"/>
              <a:ext cx="409575" cy="712788"/>
            </a:xfrm>
            <a:custGeom>
              <a:avLst/>
              <a:gdLst/>
              <a:ahLst/>
              <a:cxnLst>
                <a:cxn ang="0">
                  <a:pos x="66" y="76"/>
                </a:cxn>
                <a:cxn ang="0">
                  <a:pos x="53" y="70"/>
                </a:cxn>
                <a:cxn ang="0">
                  <a:pos x="65" y="63"/>
                </a:cxn>
                <a:cxn ang="0">
                  <a:pos x="82" y="34"/>
                </a:cxn>
                <a:cxn ang="0">
                  <a:pos x="44" y="0"/>
                </a:cxn>
                <a:cxn ang="0">
                  <a:pos x="7" y="34"/>
                </a:cxn>
                <a:cxn ang="0">
                  <a:pos x="24" y="63"/>
                </a:cxn>
                <a:cxn ang="0">
                  <a:pos x="36" y="70"/>
                </a:cxn>
                <a:cxn ang="0">
                  <a:pos x="23" y="76"/>
                </a:cxn>
                <a:cxn ang="0">
                  <a:pos x="17" y="78"/>
                </a:cxn>
                <a:cxn ang="0">
                  <a:pos x="11" y="82"/>
                </a:cxn>
                <a:cxn ang="0">
                  <a:pos x="5" y="86"/>
                </a:cxn>
                <a:cxn ang="0">
                  <a:pos x="0" y="92"/>
                </a:cxn>
                <a:cxn ang="0">
                  <a:pos x="32" y="165"/>
                </a:cxn>
                <a:cxn ang="0">
                  <a:pos x="31" y="181"/>
                </a:cxn>
                <a:cxn ang="0">
                  <a:pos x="31" y="183"/>
                </a:cxn>
                <a:cxn ang="0">
                  <a:pos x="30" y="184"/>
                </a:cxn>
                <a:cxn ang="0">
                  <a:pos x="27" y="188"/>
                </a:cxn>
                <a:cxn ang="0">
                  <a:pos x="44" y="190"/>
                </a:cxn>
                <a:cxn ang="0">
                  <a:pos x="108" y="159"/>
                </a:cxn>
                <a:cxn ang="0">
                  <a:pos x="109" y="146"/>
                </a:cxn>
                <a:cxn ang="0">
                  <a:pos x="66" y="76"/>
                </a:cxn>
              </a:cxnLst>
              <a:rect l="0" t="0" r="r" b="b"/>
              <a:pathLst>
                <a:path w="109" h="190">
                  <a:moveTo>
                    <a:pt x="66" y="76"/>
                  </a:moveTo>
                  <a:cubicBezTo>
                    <a:pt x="53" y="70"/>
                    <a:pt x="53" y="70"/>
                    <a:pt x="53" y="70"/>
                  </a:cubicBezTo>
                  <a:cubicBezTo>
                    <a:pt x="65" y="63"/>
                    <a:pt x="65" y="63"/>
                    <a:pt x="65" y="63"/>
                  </a:cubicBezTo>
                  <a:cubicBezTo>
                    <a:pt x="75" y="57"/>
                    <a:pt x="82" y="46"/>
                    <a:pt x="82" y="34"/>
                  </a:cubicBezTo>
                  <a:cubicBezTo>
                    <a:pt x="82" y="16"/>
                    <a:pt x="65" y="0"/>
                    <a:pt x="44" y="0"/>
                  </a:cubicBezTo>
                  <a:cubicBezTo>
                    <a:pt x="23" y="0"/>
                    <a:pt x="7" y="16"/>
                    <a:pt x="7" y="34"/>
                  </a:cubicBezTo>
                  <a:cubicBezTo>
                    <a:pt x="7" y="46"/>
                    <a:pt x="13" y="57"/>
                    <a:pt x="24" y="63"/>
                  </a:cubicBezTo>
                  <a:cubicBezTo>
                    <a:pt x="36" y="70"/>
                    <a:pt x="36" y="70"/>
                    <a:pt x="36" y="70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1" y="76"/>
                    <a:pt x="19" y="77"/>
                    <a:pt x="17" y="78"/>
                  </a:cubicBezTo>
                  <a:cubicBezTo>
                    <a:pt x="15" y="79"/>
                    <a:pt x="13" y="81"/>
                    <a:pt x="11" y="82"/>
                  </a:cubicBezTo>
                  <a:cubicBezTo>
                    <a:pt x="9" y="83"/>
                    <a:pt x="7" y="85"/>
                    <a:pt x="5" y="86"/>
                  </a:cubicBezTo>
                  <a:cubicBezTo>
                    <a:pt x="3" y="88"/>
                    <a:pt x="2" y="90"/>
                    <a:pt x="0" y="92"/>
                  </a:cubicBezTo>
                  <a:cubicBezTo>
                    <a:pt x="20" y="109"/>
                    <a:pt x="32" y="136"/>
                    <a:pt x="32" y="165"/>
                  </a:cubicBezTo>
                  <a:cubicBezTo>
                    <a:pt x="32" y="171"/>
                    <a:pt x="32" y="176"/>
                    <a:pt x="31" y="181"/>
                  </a:cubicBezTo>
                  <a:cubicBezTo>
                    <a:pt x="31" y="183"/>
                    <a:pt x="31" y="183"/>
                    <a:pt x="31" y="183"/>
                  </a:cubicBezTo>
                  <a:cubicBezTo>
                    <a:pt x="30" y="184"/>
                    <a:pt x="30" y="184"/>
                    <a:pt x="30" y="184"/>
                  </a:cubicBezTo>
                  <a:cubicBezTo>
                    <a:pt x="29" y="185"/>
                    <a:pt x="28" y="187"/>
                    <a:pt x="27" y="188"/>
                  </a:cubicBezTo>
                  <a:cubicBezTo>
                    <a:pt x="32" y="189"/>
                    <a:pt x="38" y="190"/>
                    <a:pt x="44" y="190"/>
                  </a:cubicBezTo>
                  <a:cubicBezTo>
                    <a:pt x="69" y="190"/>
                    <a:pt x="92" y="178"/>
                    <a:pt x="108" y="159"/>
                  </a:cubicBezTo>
                  <a:cubicBezTo>
                    <a:pt x="109" y="155"/>
                    <a:pt x="109" y="150"/>
                    <a:pt x="109" y="146"/>
                  </a:cubicBezTo>
                  <a:cubicBezTo>
                    <a:pt x="109" y="113"/>
                    <a:pt x="91" y="86"/>
                    <a:pt x="66" y="7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F5F5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 91">
              <a:extLst>
                <a:ext uri="{FF2B5EF4-FFF2-40B4-BE49-F238E27FC236}">
                  <a16:creationId xmlns:a16="http://schemas.microsoft.com/office/drawing/2014/main" id="{683ADF67-C3CF-440F-966D-78D4EE663D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4963" y="3937000"/>
              <a:ext cx="409575" cy="712788"/>
            </a:xfrm>
            <a:custGeom>
              <a:avLst/>
              <a:gdLst/>
              <a:ahLst/>
              <a:cxnLst>
                <a:cxn ang="0">
                  <a:pos x="78" y="183"/>
                </a:cxn>
                <a:cxn ang="0">
                  <a:pos x="78" y="181"/>
                </a:cxn>
                <a:cxn ang="0">
                  <a:pos x="76" y="165"/>
                </a:cxn>
                <a:cxn ang="0">
                  <a:pos x="108" y="93"/>
                </a:cxn>
                <a:cxn ang="0">
                  <a:pos x="109" y="92"/>
                </a:cxn>
                <a:cxn ang="0">
                  <a:pos x="86" y="76"/>
                </a:cxn>
                <a:cxn ang="0">
                  <a:pos x="73" y="70"/>
                </a:cxn>
                <a:cxn ang="0">
                  <a:pos x="85" y="63"/>
                </a:cxn>
                <a:cxn ang="0">
                  <a:pos x="102" y="34"/>
                </a:cxn>
                <a:cxn ang="0">
                  <a:pos x="64" y="0"/>
                </a:cxn>
                <a:cxn ang="0">
                  <a:pos x="27" y="34"/>
                </a:cxn>
                <a:cxn ang="0">
                  <a:pos x="44" y="63"/>
                </a:cxn>
                <a:cxn ang="0">
                  <a:pos x="56" y="70"/>
                </a:cxn>
                <a:cxn ang="0">
                  <a:pos x="43" y="76"/>
                </a:cxn>
                <a:cxn ang="0">
                  <a:pos x="37" y="78"/>
                </a:cxn>
                <a:cxn ang="0">
                  <a:pos x="31" y="82"/>
                </a:cxn>
                <a:cxn ang="0">
                  <a:pos x="26" y="86"/>
                </a:cxn>
                <a:cxn ang="0">
                  <a:pos x="0" y="146"/>
                </a:cxn>
                <a:cxn ang="0">
                  <a:pos x="1" y="159"/>
                </a:cxn>
                <a:cxn ang="0">
                  <a:pos x="10" y="169"/>
                </a:cxn>
                <a:cxn ang="0">
                  <a:pos x="16" y="173"/>
                </a:cxn>
                <a:cxn ang="0">
                  <a:pos x="22" y="178"/>
                </a:cxn>
                <a:cxn ang="0">
                  <a:pos x="64" y="190"/>
                </a:cxn>
                <a:cxn ang="0">
                  <a:pos x="82" y="188"/>
                </a:cxn>
                <a:cxn ang="0">
                  <a:pos x="79" y="184"/>
                </a:cxn>
                <a:cxn ang="0">
                  <a:pos x="78" y="183"/>
                </a:cxn>
              </a:cxnLst>
              <a:rect l="0" t="0" r="r" b="b"/>
              <a:pathLst>
                <a:path w="109" h="190">
                  <a:moveTo>
                    <a:pt x="78" y="183"/>
                  </a:moveTo>
                  <a:cubicBezTo>
                    <a:pt x="78" y="181"/>
                    <a:pt x="78" y="181"/>
                    <a:pt x="78" y="181"/>
                  </a:cubicBezTo>
                  <a:cubicBezTo>
                    <a:pt x="77" y="176"/>
                    <a:pt x="76" y="170"/>
                    <a:pt x="76" y="165"/>
                  </a:cubicBezTo>
                  <a:cubicBezTo>
                    <a:pt x="76" y="137"/>
                    <a:pt x="88" y="110"/>
                    <a:pt x="108" y="93"/>
                  </a:cubicBezTo>
                  <a:cubicBezTo>
                    <a:pt x="108" y="92"/>
                    <a:pt x="109" y="92"/>
                    <a:pt x="109" y="92"/>
                  </a:cubicBezTo>
                  <a:cubicBezTo>
                    <a:pt x="102" y="85"/>
                    <a:pt x="95" y="79"/>
                    <a:pt x="86" y="76"/>
                  </a:cubicBezTo>
                  <a:cubicBezTo>
                    <a:pt x="73" y="70"/>
                    <a:pt x="73" y="70"/>
                    <a:pt x="73" y="70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95" y="57"/>
                    <a:pt x="102" y="46"/>
                    <a:pt x="102" y="34"/>
                  </a:cubicBezTo>
                  <a:cubicBezTo>
                    <a:pt x="102" y="16"/>
                    <a:pt x="86" y="0"/>
                    <a:pt x="64" y="0"/>
                  </a:cubicBezTo>
                  <a:cubicBezTo>
                    <a:pt x="43" y="0"/>
                    <a:pt x="27" y="16"/>
                    <a:pt x="27" y="34"/>
                  </a:cubicBezTo>
                  <a:cubicBezTo>
                    <a:pt x="27" y="46"/>
                    <a:pt x="33" y="57"/>
                    <a:pt x="44" y="63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43" y="76"/>
                    <a:pt x="43" y="76"/>
                    <a:pt x="43" y="76"/>
                  </a:cubicBezTo>
                  <a:cubicBezTo>
                    <a:pt x="41" y="76"/>
                    <a:pt x="39" y="77"/>
                    <a:pt x="37" y="78"/>
                  </a:cubicBezTo>
                  <a:cubicBezTo>
                    <a:pt x="35" y="79"/>
                    <a:pt x="33" y="81"/>
                    <a:pt x="31" y="82"/>
                  </a:cubicBezTo>
                  <a:cubicBezTo>
                    <a:pt x="29" y="83"/>
                    <a:pt x="27" y="85"/>
                    <a:pt x="26" y="86"/>
                  </a:cubicBezTo>
                  <a:cubicBezTo>
                    <a:pt x="10" y="100"/>
                    <a:pt x="0" y="121"/>
                    <a:pt x="0" y="146"/>
                  </a:cubicBezTo>
                  <a:cubicBezTo>
                    <a:pt x="0" y="150"/>
                    <a:pt x="0" y="155"/>
                    <a:pt x="1" y="159"/>
                  </a:cubicBezTo>
                  <a:cubicBezTo>
                    <a:pt x="4" y="162"/>
                    <a:pt x="7" y="166"/>
                    <a:pt x="10" y="169"/>
                  </a:cubicBezTo>
                  <a:cubicBezTo>
                    <a:pt x="12" y="170"/>
                    <a:pt x="14" y="172"/>
                    <a:pt x="16" y="173"/>
                  </a:cubicBezTo>
                  <a:cubicBezTo>
                    <a:pt x="18" y="175"/>
                    <a:pt x="20" y="176"/>
                    <a:pt x="22" y="178"/>
                  </a:cubicBezTo>
                  <a:cubicBezTo>
                    <a:pt x="34" y="185"/>
                    <a:pt x="49" y="190"/>
                    <a:pt x="64" y="190"/>
                  </a:cubicBezTo>
                  <a:cubicBezTo>
                    <a:pt x="71" y="190"/>
                    <a:pt x="76" y="189"/>
                    <a:pt x="82" y="188"/>
                  </a:cubicBezTo>
                  <a:cubicBezTo>
                    <a:pt x="81" y="187"/>
                    <a:pt x="80" y="185"/>
                    <a:pt x="79" y="184"/>
                  </a:cubicBezTo>
                  <a:lnTo>
                    <a:pt x="78" y="1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F5F5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 92">
              <a:extLst>
                <a:ext uri="{FF2B5EF4-FFF2-40B4-BE49-F238E27FC236}">
                  <a16:creationId xmlns:a16="http://schemas.microsoft.com/office/drawing/2014/main" id="{B7C6E7D8-BCB3-4D2B-BE25-F7CE7CF941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6113" y="3937000"/>
              <a:ext cx="552450" cy="806450"/>
            </a:xfrm>
            <a:custGeom>
              <a:avLst/>
              <a:gdLst/>
              <a:ahLst/>
              <a:cxnLst>
                <a:cxn ang="0">
                  <a:pos x="98" y="86"/>
                </a:cxn>
                <a:cxn ang="0">
                  <a:pos x="83" y="79"/>
                </a:cxn>
                <a:cxn ang="0">
                  <a:pos x="97" y="71"/>
                </a:cxn>
                <a:cxn ang="0">
                  <a:pos x="116" y="39"/>
                </a:cxn>
                <a:cxn ang="0">
                  <a:pos x="73" y="0"/>
                </a:cxn>
                <a:cxn ang="0">
                  <a:pos x="31" y="39"/>
                </a:cxn>
                <a:cxn ang="0">
                  <a:pos x="50" y="71"/>
                </a:cxn>
                <a:cxn ang="0">
                  <a:pos x="64" y="79"/>
                </a:cxn>
                <a:cxn ang="0">
                  <a:pos x="49" y="86"/>
                </a:cxn>
                <a:cxn ang="0">
                  <a:pos x="43" y="89"/>
                </a:cxn>
                <a:cxn ang="0">
                  <a:pos x="36" y="93"/>
                </a:cxn>
                <a:cxn ang="0">
                  <a:pos x="29" y="98"/>
                </a:cxn>
                <a:cxn ang="0">
                  <a:pos x="0" y="165"/>
                </a:cxn>
                <a:cxn ang="0">
                  <a:pos x="1" y="180"/>
                </a:cxn>
                <a:cxn ang="0">
                  <a:pos x="12" y="191"/>
                </a:cxn>
                <a:cxn ang="0">
                  <a:pos x="18" y="196"/>
                </a:cxn>
                <a:cxn ang="0">
                  <a:pos x="25" y="201"/>
                </a:cxn>
                <a:cxn ang="0">
                  <a:pos x="73" y="215"/>
                </a:cxn>
                <a:cxn ang="0">
                  <a:pos x="146" y="180"/>
                </a:cxn>
                <a:cxn ang="0">
                  <a:pos x="147" y="165"/>
                </a:cxn>
                <a:cxn ang="0">
                  <a:pos x="98" y="86"/>
                </a:cxn>
              </a:cxnLst>
              <a:rect l="0" t="0" r="r" b="b"/>
              <a:pathLst>
                <a:path w="147" h="215">
                  <a:moveTo>
                    <a:pt x="98" y="86"/>
                  </a:moveTo>
                  <a:cubicBezTo>
                    <a:pt x="83" y="79"/>
                    <a:pt x="83" y="79"/>
                    <a:pt x="83" y="79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109" y="64"/>
                    <a:pt x="116" y="52"/>
                    <a:pt x="116" y="39"/>
                  </a:cubicBezTo>
                  <a:cubicBezTo>
                    <a:pt x="116" y="18"/>
                    <a:pt x="97" y="0"/>
                    <a:pt x="73" y="0"/>
                  </a:cubicBezTo>
                  <a:cubicBezTo>
                    <a:pt x="49" y="0"/>
                    <a:pt x="31" y="18"/>
                    <a:pt x="31" y="39"/>
                  </a:cubicBezTo>
                  <a:cubicBezTo>
                    <a:pt x="31" y="52"/>
                    <a:pt x="38" y="64"/>
                    <a:pt x="50" y="71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7" y="86"/>
                    <a:pt x="45" y="87"/>
                    <a:pt x="43" y="89"/>
                  </a:cubicBezTo>
                  <a:cubicBezTo>
                    <a:pt x="40" y="90"/>
                    <a:pt x="38" y="91"/>
                    <a:pt x="36" y="93"/>
                  </a:cubicBezTo>
                  <a:cubicBezTo>
                    <a:pt x="34" y="94"/>
                    <a:pt x="31" y="96"/>
                    <a:pt x="29" y="98"/>
                  </a:cubicBezTo>
                  <a:cubicBezTo>
                    <a:pt x="12" y="113"/>
                    <a:pt x="0" y="138"/>
                    <a:pt x="0" y="165"/>
                  </a:cubicBezTo>
                  <a:cubicBezTo>
                    <a:pt x="0" y="170"/>
                    <a:pt x="0" y="175"/>
                    <a:pt x="1" y="180"/>
                  </a:cubicBezTo>
                  <a:cubicBezTo>
                    <a:pt x="4" y="184"/>
                    <a:pt x="8" y="188"/>
                    <a:pt x="12" y="191"/>
                  </a:cubicBezTo>
                  <a:cubicBezTo>
                    <a:pt x="14" y="193"/>
                    <a:pt x="16" y="195"/>
                    <a:pt x="18" y="196"/>
                  </a:cubicBezTo>
                  <a:cubicBezTo>
                    <a:pt x="21" y="198"/>
                    <a:pt x="23" y="200"/>
                    <a:pt x="25" y="201"/>
                  </a:cubicBezTo>
                  <a:cubicBezTo>
                    <a:pt x="39" y="210"/>
                    <a:pt x="56" y="215"/>
                    <a:pt x="73" y="215"/>
                  </a:cubicBezTo>
                  <a:cubicBezTo>
                    <a:pt x="102" y="215"/>
                    <a:pt x="128" y="202"/>
                    <a:pt x="146" y="180"/>
                  </a:cubicBezTo>
                  <a:cubicBezTo>
                    <a:pt x="146" y="175"/>
                    <a:pt x="147" y="170"/>
                    <a:pt x="147" y="165"/>
                  </a:cubicBezTo>
                  <a:cubicBezTo>
                    <a:pt x="147" y="128"/>
                    <a:pt x="126" y="97"/>
                    <a:pt x="98" y="8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F5F5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9" name="Freeform 79">
            <a:extLst>
              <a:ext uri="{FF2B5EF4-FFF2-40B4-BE49-F238E27FC236}">
                <a16:creationId xmlns:a16="http://schemas.microsoft.com/office/drawing/2014/main" id="{0E00B504-EF4C-4250-834B-85F9E671B82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88026" y="3948899"/>
            <a:ext cx="457200" cy="412329"/>
          </a:xfrm>
          <a:custGeom>
            <a:avLst/>
            <a:gdLst/>
            <a:ahLst/>
            <a:cxnLst>
              <a:cxn ang="0">
                <a:pos x="155" y="311"/>
              </a:cxn>
              <a:cxn ang="0">
                <a:pos x="0" y="155"/>
              </a:cxn>
              <a:cxn ang="0">
                <a:pos x="155" y="0"/>
              </a:cxn>
              <a:cxn ang="0">
                <a:pos x="311" y="154"/>
              </a:cxn>
              <a:cxn ang="0">
                <a:pos x="345" y="154"/>
              </a:cxn>
              <a:cxn ang="0">
                <a:pos x="293" y="217"/>
              </a:cxn>
              <a:cxn ang="0">
                <a:pos x="240" y="154"/>
              </a:cxn>
              <a:cxn ang="0">
                <a:pos x="275" y="154"/>
              </a:cxn>
              <a:cxn ang="0">
                <a:pos x="155" y="36"/>
              </a:cxn>
              <a:cxn ang="0">
                <a:pos x="36" y="155"/>
              </a:cxn>
              <a:cxn ang="0">
                <a:pos x="155" y="275"/>
              </a:cxn>
              <a:cxn ang="0">
                <a:pos x="262" y="209"/>
              </a:cxn>
              <a:cxn ang="0">
                <a:pos x="286" y="239"/>
              </a:cxn>
              <a:cxn ang="0">
                <a:pos x="155" y="311"/>
              </a:cxn>
              <a:cxn ang="0">
                <a:pos x="153" y="127"/>
              </a:cxn>
              <a:cxn ang="0">
                <a:pos x="176" y="138"/>
              </a:cxn>
              <a:cxn ang="0">
                <a:pos x="171" y="176"/>
              </a:cxn>
              <a:cxn ang="0">
                <a:pos x="133" y="171"/>
              </a:cxn>
              <a:cxn ang="0">
                <a:pos x="129" y="146"/>
              </a:cxn>
              <a:cxn ang="0">
                <a:pos x="88" y="88"/>
              </a:cxn>
              <a:cxn ang="0">
                <a:pos x="108" y="73"/>
              </a:cxn>
              <a:cxn ang="0">
                <a:pos x="153" y="127"/>
              </a:cxn>
              <a:cxn ang="0">
                <a:pos x="179" y="131"/>
              </a:cxn>
              <a:cxn ang="0">
                <a:pos x="232" y="103"/>
              </a:cxn>
              <a:cxn ang="0">
                <a:pos x="240" y="116"/>
              </a:cxn>
              <a:cxn ang="0">
                <a:pos x="188" y="149"/>
              </a:cxn>
              <a:cxn ang="0">
                <a:pos x="182" y="134"/>
              </a:cxn>
              <a:cxn ang="0">
                <a:pos x="179" y="131"/>
              </a:cxn>
            </a:cxnLst>
            <a:rect l="0" t="0" r="r" b="b"/>
            <a:pathLst>
              <a:path w="345" h="311">
                <a:moveTo>
                  <a:pt x="155" y="311"/>
                </a:moveTo>
                <a:cubicBezTo>
                  <a:pt x="69" y="311"/>
                  <a:pt x="0" y="241"/>
                  <a:pt x="0" y="155"/>
                </a:cubicBezTo>
                <a:cubicBezTo>
                  <a:pt x="0" y="69"/>
                  <a:pt x="69" y="0"/>
                  <a:pt x="155" y="0"/>
                </a:cubicBezTo>
                <a:cubicBezTo>
                  <a:pt x="241" y="0"/>
                  <a:pt x="310" y="69"/>
                  <a:pt x="311" y="154"/>
                </a:cubicBezTo>
                <a:cubicBezTo>
                  <a:pt x="345" y="154"/>
                  <a:pt x="345" y="154"/>
                  <a:pt x="345" y="154"/>
                </a:cubicBezTo>
                <a:cubicBezTo>
                  <a:pt x="293" y="217"/>
                  <a:pt x="293" y="217"/>
                  <a:pt x="293" y="217"/>
                </a:cubicBezTo>
                <a:cubicBezTo>
                  <a:pt x="240" y="154"/>
                  <a:pt x="240" y="154"/>
                  <a:pt x="240" y="154"/>
                </a:cubicBezTo>
                <a:cubicBezTo>
                  <a:pt x="275" y="154"/>
                  <a:pt x="275" y="154"/>
                  <a:pt x="275" y="154"/>
                </a:cubicBezTo>
                <a:cubicBezTo>
                  <a:pt x="274" y="89"/>
                  <a:pt x="221" y="36"/>
                  <a:pt x="155" y="36"/>
                </a:cubicBezTo>
                <a:cubicBezTo>
                  <a:pt x="89" y="36"/>
                  <a:pt x="36" y="89"/>
                  <a:pt x="36" y="155"/>
                </a:cubicBezTo>
                <a:cubicBezTo>
                  <a:pt x="36" y="221"/>
                  <a:pt x="89" y="275"/>
                  <a:pt x="155" y="275"/>
                </a:cubicBezTo>
                <a:cubicBezTo>
                  <a:pt x="202" y="275"/>
                  <a:pt x="242" y="248"/>
                  <a:pt x="262" y="209"/>
                </a:cubicBezTo>
                <a:cubicBezTo>
                  <a:pt x="286" y="239"/>
                  <a:pt x="286" y="239"/>
                  <a:pt x="286" y="239"/>
                </a:cubicBezTo>
                <a:cubicBezTo>
                  <a:pt x="259" y="282"/>
                  <a:pt x="210" y="311"/>
                  <a:pt x="155" y="311"/>
                </a:cubicBezTo>
                <a:close/>
                <a:moveTo>
                  <a:pt x="153" y="127"/>
                </a:moveTo>
                <a:cubicBezTo>
                  <a:pt x="162" y="127"/>
                  <a:pt x="171" y="131"/>
                  <a:pt x="176" y="138"/>
                </a:cubicBezTo>
                <a:cubicBezTo>
                  <a:pt x="185" y="150"/>
                  <a:pt x="183" y="167"/>
                  <a:pt x="171" y="176"/>
                </a:cubicBezTo>
                <a:cubicBezTo>
                  <a:pt x="159" y="185"/>
                  <a:pt x="142" y="183"/>
                  <a:pt x="133" y="171"/>
                </a:cubicBezTo>
                <a:cubicBezTo>
                  <a:pt x="127" y="164"/>
                  <a:pt x="126" y="154"/>
                  <a:pt x="129" y="146"/>
                </a:cubicBezTo>
                <a:cubicBezTo>
                  <a:pt x="88" y="88"/>
                  <a:pt x="88" y="88"/>
                  <a:pt x="88" y="88"/>
                </a:cubicBezTo>
                <a:cubicBezTo>
                  <a:pt x="79" y="75"/>
                  <a:pt x="98" y="61"/>
                  <a:pt x="108" y="73"/>
                </a:cubicBezTo>
                <a:cubicBezTo>
                  <a:pt x="153" y="127"/>
                  <a:pt x="153" y="127"/>
                  <a:pt x="153" y="127"/>
                </a:cubicBezTo>
                <a:close/>
                <a:moveTo>
                  <a:pt x="179" y="131"/>
                </a:moveTo>
                <a:cubicBezTo>
                  <a:pt x="232" y="103"/>
                  <a:pt x="232" y="103"/>
                  <a:pt x="232" y="103"/>
                </a:cubicBezTo>
                <a:cubicBezTo>
                  <a:pt x="240" y="99"/>
                  <a:pt x="248" y="111"/>
                  <a:pt x="240" y="116"/>
                </a:cubicBezTo>
                <a:cubicBezTo>
                  <a:pt x="188" y="149"/>
                  <a:pt x="188" y="149"/>
                  <a:pt x="188" y="149"/>
                </a:cubicBezTo>
                <a:cubicBezTo>
                  <a:pt x="187" y="144"/>
                  <a:pt x="185" y="138"/>
                  <a:pt x="182" y="134"/>
                </a:cubicBezTo>
                <a:cubicBezTo>
                  <a:pt x="181" y="133"/>
                  <a:pt x="180" y="132"/>
                  <a:pt x="179" y="131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5F5F5F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5536A332-B4E0-455B-97D7-F01D7D66FCE3}"/>
              </a:ext>
            </a:extLst>
          </p:cNvPr>
          <p:cNvSpPr txBox="1"/>
          <p:nvPr/>
        </p:nvSpPr>
        <p:spPr>
          <a:xfrm>
            <a:off x="122526" y="4047341"/>
            <a:ext cx="791435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1" i="0" u="none" strike="noStrike" kern="1200" cap="none" spc="0" normalizeH="0" baseline="0" noProof="0" dirty="0">
                <a:ln>
                  <a:noFill/>
                </a:ln>
                <a:solidFill>
                  <a:srgbClr val="5F5F5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. Mins*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83C9E51B-3D51-4B4F-A1E2-407F596A6FF1}"/>
              </a:ext>
            </a:extLst>
          </p:cNvPr>
          <p:cNvSpPr/>
          <p:nvPr/>
        </p:nvSpPr>
        <p:spPr>
          <a:xfrm>
            <a:off x="1110204" y="1199925"/>
            <a:ext cx="1188720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5+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AA900E80-EC25-4D57-BF7F-ED9FD5BCEC1C}"/>
              </a:ext>
            </a:extLst>
          </p:cNvPr>
          <p:cNvSpPr/>
          <p:nvPr/>
        </p:nvSpPr>
        <p:spPr>
          <a:xfrm>
            <a:off x="2469740" y="1212487"/>
            <a:ext cx="1188720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600" b="1" dirty="0">
                <a:solidFill>
                  <a:prstClr val="white"/>
                </a:solidFill>
                <a:latin typeface="Arial"/>
              </a:rPr>
              <a:t>15-34  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E3B8A87F-14F1-449D-9D12-996DD25CB662}"/>
              </a:ext>
            </a:extLst>
          </p:cNvPr>
          <p:cNvSpPr/>
          <p:nvPr/>
        </p:nvSpPr>
        <p:spPr>
          <a:xfrm>
            <a:off x="3799776" y="1203133"/>
            <a:ext cx="1188720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600" b="1" dirty="0">
                <a:solidFill>
                  <a:prstClr val="white"/>
                </a:solidFill>
                <a:latin typeface="Arial"/>
              </a:rPr>
              <a:t>35+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59690AF0-16E3-44B9-9289-7272020BF8CF}"/>
              </a:ext>
            </a:extLst>
          </p:cNvPr>
          <p:cNvSpPr/>
          <p:nvPr/>
        </p:nvSpPr>
        <p:spPr>
          <a:xfrm>
            <a:off x="5290239" y="2177461"/>
            <a:ext cx="2177334" cy="1544161"/>
          </a:xfrm>
          <a:prstGeom prst="ellipse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  <a:tileRect/>
          </a:gradFill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IE" sz="1600" b="1" dirty="0">
                <a:solidFill>
                  <a:prstClr val="white"/>
                </a:solidFill>
                <a:latin typeface="Arial"/>
              </a:rPr>
              <a:t>On average listeners tune into 1.5 radio stations daily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748FF778-40F9-4DE4-AAEB-493E2FDCE2A1}"/>
              </a:ext>
            </a:extLst>
          </p:cNvPr>
          <p:cNvSpPr txBox="1"/>
          <p:nvPr/>
        </p:nvSpPr>
        <p:spPr>
          <a:xfrm>
            <a:off x="2678087" y="922264"/>
            <a:ext cx="803391" cy="21544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 marL="476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1" i="0" u="none" strike="noStrike" kern="1200" cap="none" spc="0" normalizeH="0" baseline="0" noProof="0" dirty="0">
                <a:ln>
                  <a:noFill/>
                </a:ln>
                <a:solidFill>
                  <a:srgbClr val="5F5F5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ILY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158FB102-36B3-451A-AD7D-E43FFB3E78A1}"/>
              </a:ext>
            </a:extLst>
          </p:cNvPr>
          <p:cNvSpPr/>
          <p:nvPr/>
        </p:nvSpPr>
        <p:spPr>
          <a:xfrm>
            <a:off x="7809187" y="1212487"/>
            <a:ext cx="1188720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600" b="1" dirty="0">
                <a:solidFill>
                  <a:prstClr val="white"/>
                </a:solidFill>
                <a:latin typeface="Arial"/>
              </a:rPr>
              <a:t>15+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B2E870AD-8FAE-4EDA-B5C8-D37D6214B625}"/>
              </a:ext>
            </a:extLst>
          </p:cNvPr>
          <p:cNvSpPr txBox="1"/>
          <p:nvPr/>
        </p:nvSpPr>
        <p:spPr>
          <a:xfrm>
            <a:off x="8003439" y="783645"/>
            <a:ext cx="803391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476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1400" b="1" dirty="0">
                <a:solidFill>
                  <a:srgbClr val="5F5F5F">
                    <a:lumMod val="65000"/>
                    <a:lumOff val="35000"/>
                  </a:srgbClr>
                </a:solidFill>
                <a:latin typeface="Arial"/>
              </a:rPr>
              <a:t>PAST </a:t>
            </a:r>
            <a:r>
              <a:rPr kumimoji="0" lang="en-IE" sz="1400" b="1" i="0" u="none" strike="noStrike" kern="1200" cap="none" spc="0" normalizeH="0" baseline="0" noProof="0" dirty="0">
                <a:ln>
                  <a:noFill/>
                </a:ln>
                <a:solidFill>
                  <a:srgbClr val="5F5F5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EK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40021697-143A-4D9C-B319-A1154C9DF194}"/>
              </a:ext>
            </a:extLst>
          </p:cNvPr>
          <p:cNvSpPr txBox="1"/>
          <p:nvPr/>
        </p:nvSpPr>
        <p:spPr>
          <a:xfrm>
            <a:off x="6653608" y="4181884"/>
            <a:ext cx="2367866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700" dirty="0">
                <a:solidFill>
                  <a:srgbClr val="888B8D">
                    <a:lumMod val="50000"/>
                  </a:srgbClr>
                </a:solidFill>
                <a:latin typeface="Arial"/>
              </a:rPr>
              <a:t>Source: JNLR  Sales House -Weekly Reach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96EF3B52-2E9C-7B6A-B73B-51EF018A57AE}"/>
              </a:ext>
            </a:extLst>
          </p:cNvPr>
          <p:cNvSpPr/>
          <p:nvPr/>
        </p:nvSpPr>
        <p:spPr>
          <a:xfrm>
            <a:off x="1164488" y="1634673"/>
            <a:ext cx="1195834" cy="40042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800" b="0" i="0" u="none" strike="noStrike" kern="1200" cap="none" spc="0" normalizeH="0" baseline="0" noProof="0" dirty="0">
              <a:ln>
                <a:noFill/>
              </a:ln>
              <a:solidFill>
                <a:srgbClr val="5F5F5F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1DF560A-2524-B948-CCBA-ADF71DC9C83C}"/>
              </a:ext>
            </a:extLst>
          </p:cNvPr>
          <p:cNvSpPr txBox="1"/>
          <p:nvPr/>
        </p:nvSpPr>
        <p:spPr>
          <a:xfrm>
            <a:off x="1340300" y="1706382"/>
            <a:ext cx="88403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1" i="0" u="none" strike="noStrike" kern="1200" cap="none" spc="0" normalizeH="0" baseline="0" noProof="0" dirty="0">
                <a:ln>
                  <a:noFill/>
                </a:ln>
                <a:solidFill>
                  <a:srgbClr val="5F5F5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,481,000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D8219A3-062A-D53D-CEF3-20CAD7D303E4}"/>
              </a:ext>
            </a:extLst>
          </p:cNvPr>
          <p:cNvSpPr txBox="1"/>
          <p:nvPr/>
        </p:nvSpPr>
        <p:spPr>
          <a:xfrm>
            <a:off x="2717539" y="1706382"/>
            <a:ext cx="763939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1400" b="1" dirty="0">
                <a:solidFill>
                  <a:srgbClr val="5F5F5F">
                    <a:lumMod val="65000"/>
                    <a:lumOff val="35000"/>
                  </a:srgbClr>
                </a:solidFill>
                <a:latin typeface="Arial"/>
              </a:rPr>
              <a:t>911</a:t>
            </a:r>
            <a:r>
              <a:rPr kumimoji="0" lang="en-IE" sz="1400" b="1" i="0" u="none" strike="noStrike" kern="1200" cap="none" spc="0" normalizeH="0" baseline="0" noProof="0" dirty="0">
                <a:ln>
                  <a:noFill/>
                </a:ln>
                <a:solidFill>
                  <a:srgbClr val="5F5F5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000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7603DDC-4D20-A584-41FE-9999A0F00AFE}"/>
              </a:ext>
            </a:extLst>
          </p:cNvPr>
          <p:cNvSpPr txBox="1"/>
          <p:nvPr/>
        </p:nvSpPr>
        <p:spPr>
          <a:xfrm>
            <a:off x="3984582" y="1706382"/>
            <a:ext cx="980739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1" i="0" u="none" strike="noStrike" kern="1200" cap="none" spc="0" normalizeH="0" baseline="0" noProof="0" dirty="0">
                <a:ln>
                  <a:noFill/>
                </a:ln>
                <a:solidFill>
                  <a:srgbClr val="5F5F5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,570,000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097A7FBA-D689-4844-477D-C226394BC608}"/>
              </a:ext>
            </a:extLst>
          </p:cNvPr>
          <p:cNvSpPr/>
          <p:nvPr/>
        </p:nvSpPr>
        <p:spPr>
          <a:xfrm>
            <a:off x="2537520" y="1640260"/>
            <a:ext cx="1151084" cy="389254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800" b="0" i="0" u="none" strike="noStrike" kern="1200" cap="none" spc="0" normalizeH="0" baseline="0" noProof="0" dirty="0">
              <a:ln>
                <a:noFill/>
              </a:ln>
              <a:solidFill>
                <a:srgbClr val="5F5F5F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1889D767-9389-7776-FC35-69988CC52846}"/>
              </a:ext>
            </a:extLst>
          </p:cNvPr>
          <p:cNvSpPr/>
          <p:nvPr/>
        </p:nvSpPr>
        <p:spPr>
          <a:xfrm>
            <a:off x="3954159" y="1630129"/>
            <a:ext cx="1015265" cy="409052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800" b="0" i="0" u="none" strike="noStrike" kern="1200" cap="none" spc="0" normalizeH="0" baseline="0" noProof="0" dirty="0">
              <a:ln>
                <a:noFill/>
              </a:ln>
              <a:solidFill>
                <a:srgbClr val="5F5F5F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4CDEC4B-56E0-ACDC-B00D-DEC12B565504}"/>
              </a:ext>
            </a:extLst>
          </p:cNvPr>
          <p:cNvSpPr txBox="1"/>
          <p:nvPr/>
        </p:nvSpPr>
        <p:spPr>
          <a:xfrm>
            <a:off x="8003439" y="1747261"/>
            <a:ext cx="800219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lvl="0" algn="ctr" defTabSz="914400">
              <a:defRPr/>
            </a:pPr>
            <a:r>
              <a:rPr lang="en-IE" sz="1400" b="1" dirty="0">
                <a:solidFill>
                  <a:srgbClr val="5F5F5F">
                    <a:lumMod val="65000"/>
                    <a:lumOff val="35000"/>
                  </a:srgbClr>
                </a:solidFill>
              </a:rPr>
              <a:t>3,979,000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EABD3B99-EADA-9627-FCA4-DFEF1F95D6D0}"/>
              </a:ext>
            </a:extLst>
          </p:cNvPr>
          <p:cNvSpPr/>
          <p:nvPr/>
        </p:nvSpPr>
        <p:spPr>
          <a:xfrm>
            <a:off x="7809187" y="1660356"/>
            <a:ext cx="1188720" cy="389254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800" b="0" i="0" u="none" strike="noStrike" kern="1200" cap="none" spc="0" normalizeH="0" baseline="0" noProof="0" dirty="0">
              <a:ln>
                <a:noFill/>
              </a:ln>
              <a:solidFill>
                <a:srgbClr val="5F5F5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48BF26A-194B-6C5F-BA03-F77BF968DB79}"/>
              </a:ext>
            </a:extLst>
          </p:cNvPr>
          <p:cNvSpPr txBox="1"/>
          <p:nvPr/>
        </p:nvSpPr>
        <p:spPr>
          <a:xfrm>
            <a:off x="1601065" y="4047341"/>
            <a:ext cx="303289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1" i="0" u="none" strike="noStrike" kern="1200" cap="none" spc="0" normalizeH="0" baseline="0" noProof="0" dirty="0">
                <a:ln>
                  <a:noFill/>
                </a:ln>
                <a:solidFill>
                  <a:srgbClr val="5F5F5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39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03D046A-E806-58F8-1030-E2BF7DBEB5BD}"/>
              </a:ext>
            </a:extLst>
          </p:cNvPr>
          <p:cNvSpPr txBox="1"/>
          <p:nvPr/>
        </p:nvSpPr>
        <p:spPr>
          <a:xfrm>
            <a:off x="2950215" y="4047341"/>
            <a:ext cx="303289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1" i="0" u="none" strike="noStrike" kern="1200" cap="none" spc="0" normalizeH="0" baseline="0" noProof="0" dirty="0">
                <a:ln>
                  <a:noFill/>
                </a:ln>
                <a:solidFill>
                  <a:srgbClr val="5F5F5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79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27E2AE6-3EAC-DDA8-F301-223D2854DE00}"/>
              </a:ext>
            </a:extLst>
          </p:cNvPr>
          <p:cNvSpPr txBox="1"/>
          <p:nvPr/>
        </p:nvSpPr>
        <p:spPr>
          <a:xfrm>
            <a:off x="4287392" y="4047341"/>
            <a:ext cx="303289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1" i="0" u="none" strike="noStrike" kern="1200" cap="none" spc="0" normalizeH="0" baseline="0" noProof="0" dirty="0">
                <a:ln>
                  <a:noFill/>
                </a:ln>
                <a:solidFill>
                  <a:srgbClr val="5F5F5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61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2D7BE711-E5A0-B928-ABF2-5F221D211C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4</a:t>
            </a:fld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2454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" name="Content Placeholder 11">
            <a:extLst>
              <a:ext uri="{FF2B5EF4-FFF2-40B4-BE49-F238E27FC236}">
                <a16:creationId xmlns:a16="http://schemas.microsoft.com/office/drawing/2014/main" id="{777D1F00-4CD2-41BC-9049-D7116F35065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33377635"/>
              </p:ext>
            </p:extLst>
          </p:nvPr>
        </p:nvGraphicFramePr>
        <p:xfrm>
          <a:off x="547352" y="960810"/>
          <a:ext cx="4532946" cy="3232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3" name="TextBox 62">
            <a:extLst>
              <a:ext uri="{FF2B5EF4-FFF2-40B4-BE49-F238E27FC236}">
                <a16:creationId xmlns:a16="http://schemas.microsoft.com/office/drawing/2014/main" id="{916AC08F-B339-4703-A286-89DE78D05CC1}"/>
              </a:ext>
            </a:extLst>
          </p:cNvPr>
          <p:cNvSpPr txBox="1"/>
          <p:nvPr/>
        </p:nvSpPr>
        <p:spPr>
          <a:xfrm>
            <a:off x="2366740" y="2536107"/>
            <a:ext cx="547724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200" b="1" i="0" u="none" strike="noStrike" kern="1200" cap="none" spc="0" normalizeH="0" baseline="0" noProof="0" dirty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5+</a:t>
            </a: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C81A3BE4-0432-40AD-ABE2-D58A852021EA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50000"/>
          </a:blip>
          <a:stretch>
            <a:fillRect/>
          </a:stretch>
        </p:blipFill>
        <p:spPr>
          <a:xfrm>
            <a:off x="1088030" y="2814275"/>
            <a:ext cx="457200" cy="481693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56F5F776-05A3-479B-9E99-C99F24F1BC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573538" y="2221540"/>
            <a:ext cx="368119" cy="277000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EA5B4B0E-2624-435B-BE01-9207E57B2B92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25000"/>
          </a:blip>
          <a:stretch>
            <a:fillRect/>
          </a:stretch>
        </p:blipFill>
        <p:spPr>
          <a:xfrm>
            <a:off x="3099237" y="1528655"/>
            <a:ext cx="214870" cy="365760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0B7B7FDE-1AC4-417B-AD01-640CC040BB9F}"/>
              </a:ext>
            </a:extLst>
          </p:cNvPr>
          <p:cNvPicPr>
            <a:picLocks noChangeAspect="1"/>
          </p:cNvPicPr>
          <p:nvPr/>
        </p:nvPicPr>
        <p:blipFill>
          <a:blip r:embed="rId7">
            <a:biLevel thresh="25000"/>
          </a:blip>
          <a:stretch>
            <a:fillRect/>
          </a:stretch>
        </p:blipFill>
        <p:spPr>
          <a:xfrm>
            <a:off x="2283891" y="1326262"/>
            <a:ext cx="447112" cy="303214"/>
          </a:xfrm>
          <a:prstGeom prst="rect">
            <a:avLst/>
          </a:prstGeom>
        </p:spPr>
      </p:pic>
      <p:sp>
        <p:nvSpPr>
          <p:cNvPr id="58" name="Title 10">
            <a:extLst>
              <a:ext uri="{FF2B5EF4-FFF2-40B4-BE49-F238E27FC236}">
                <a16:creationId xmlns:a16="http://schemas.microsoft.com/office/drawing/2014/main" id="{D73B7E96-D772-4F58-9C6E-4822E93D3F69}"/>
              </a:ext>
            </a:extLst>
          </p:cNvPr>
          <p:cNvSpPr txBox="1">
            <a:spLocks/>
          </p:cNvSpPr>
          <p:nvPr/>
        </p:nvSpPr>
        <p:spPr>
          <a:xfrm>
            <a:off x="291426" y="108369"/>
            <a:ext cx="7406640" cy="369332"/>
          </a:xfrm>
          <a:prstGeom prst="rect">
            <a:avLst/>
          </a:prstGeom>
        </p:spPr>
        <p:txBody>
          <a:bodyPr vert="horz" wrap="square" lIns="162000" tIns="45720" rIns="162000" bIns="45720" rtlCol="0" anchor="b">
            <a:spAutoFit/>
          </a:bodyPr>
          <a:lstStyle>
            <a:lvl1pPr algn="l" defTabSz="924282" rtl="0" eaLnBrk="1" latinLnBrk="0" hangingPunct="1">
              <a:lnSpc>
                <a:spcPct val="90000"/>
              </a:lnSpc>
              <a:spcBef>
                <a:spcPts val="408"/>
              </a:spcBef>
              <a:buNone/>
              <a:tabLst/>
              <a:defRPr lang="en-US" sz="2000" b="1" kern="1200" cap="all" spc="-75" baseline="0">
                <a:solidFill>
                  <a:srgbClr val="7F7F7F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IE" dirty="0">
                <a:latin typeface="Arial" panose="020B0604020202020204" pitchFamily="34" charset="0"/>
                <a:cs typeface="Arial" panose="020B0604020202020204" pitchFamily="34" charset="0"/>
              </a:rPr>
              <a:t>Radio Today </a:t>
            </a:r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5B618B83-87EC-4EE2-99F1-C3D052E47EA1}"/>
              </a:ext>
            </a:extLst>
          </p:cNvPr>
          <p:cNvSpPr txBox="1">
            <a:spLocks/>
          </p:cNvSpPr>
          <p:nvPr/>
        </p:nvSpPr>
        <p:spPr>
          <a:xfrm>
            <a:off x="436364" y="466725"/>
            <a:ext cx="7285926" cy="507831"/>
          </a:xfrm>
          <a:prstGeom prst="rect">
            <a:avLst/>
          </a:prstGeom>
          <a:noFill/>
        </p:spPr>
        <p:txBody>
          <a:bodyPr vert="horz" wrap="square" lIns="0" tIns="45720" rIns="0" bIns="0" rtlCol="0" anchor="t">
            <a:spAutoFit/>
          </a:bodyPr>
          <a:lstStyle>
            <a:defPPr>
              <a:defRPr lang="en-US"/>
            </a:defPPr>
            <a:lvl1pPr marR="0" lvl="0" indent="0" defTabSz="685800" fontAlgn="auto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</a:defRPr>
            </a:lvl1pPr>
            <a:lvl2pPr marL="335756" indent="-235744" defTabSz="685800">
              <a:lnSpc>
                <a:spcPct val="90000"/>
              </a:lnSpc>
              <a:spcBef>
                <a:spcPts val="450"/>
              </a:spcBef>
              <a:buSzPct val="80000"/>
              <a:buFontTx/>
              <a:buBlip>
                <a:blip r:embed="rId8"/>
              </a:buBlip>
              <a:defRPr sz="1200">
                <a:solidFill>
                  <a:schemeClr val="bg2"/>
                </a:solidFill>
              </a:defRPr>
            </a:lvl2pPr>
            <a:lvl3pPr marL="535781" indent="-128588" defTabSz="68580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‒"/>
              <a:defRPr sz="1050">
                <a:solidFill>
                  <a:schemeClr val="bg2"/>
                </a:solidFill>
              </a:defRPr>
            </a:lvl3pPr>
            <a:lvl4pPr marL="740569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>
                <a:solidFill>
                  <a:schemeClr val="bg2"/>
                </a:solidFill>
              </a:defRPr>
            </a:lvl4pPr>
            <a:lvl5pPr marL="946547" indent="-171450" defTabSz="685800">
              <a:lnSpc>
                <a:spcPct val="90000"/>
              </a:lnSpc>
              <a:spcBef>
                <a:spcPts val="375"/>
              </a:spcBef>
              <a:buFont typeface="HelveticaNeueLT Std Lt Cn" panose="020B0406020202030204" pitchFamily="34" charset="0"/>
              <a:buChar char="−"/>
              <a:defRPr sz="788">
                <a:solidFill>
                  <a:schemeClr val="bg2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r>
              <a:rPr lang="en-IE" dirty="0"/>
              <a:t>While most listening happens on the AM/FM radio – 521,000 listen daily on a digital platform</a:t>
            </a:r>
          </a:p>
        </p:txBody>
      </p:sp>
      <p:sp>
        <p:nvSpPr>
          <p:cNvPr id="60" name="Text Placeholder 14">
            <a:extLst>
              <a:ext uri="{FF2B5EF4-FFF2-40B4-BE49-F238E27FC236}">
                <a16:creationId xmlns:a16="http://schemas.microsoft.com/office/drawing/2014/main" id="{6362530E-D479-4EC0-82D1-5DACDEF5FBA5}"/>
              </a:ext>
            </a:extLst>
          </p:cNvPr>
          <p:cNvSpPr txBox="1">
            <a:spLocks/>
          </p:cNvSpPr>
          <p:nvPr/>
        </p:nvSpPr>
        <p:spPr>
          <a:xfrm>
            <a:off x="172720" y="4569466"/>
            <a:ext cx="6802288" cy="2292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n-US"/>
            </a:defPPr>
            <a:lvl1pPr marL="64294" marR="0" lvl="0" indent="-64294" defTabSz="685800" fontAlgn="auto">
              <a:lnSpc>
                <a:spcPct val="90000"/>
              </a:lnSpc>
              <a:spcBef>
                <a:spcPts val="135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>
                <a:tab pos="6226175" algn="r"/>
                <a:tab pos="6518275" algn="r"/>
              </a:tabLst>
              <a:defRPr kumimoji="0" sz="800" b="0" i="0" u="none" strike="noStrike" cap="none" spc="0" normalizeH="0" baseline="0">
                <a:ln>
                  <a:noFill/>
                </a:ln>
                <a:solidFill>
                  <a:srgbClr val="888B8D">
                    <a:lumMod val="50000"/>
                  </a:srgbClr>
                </a:solidFill>
                <a:effectLst/>
                <a:uLnTx/>
                <a:uFillTx/>
                <a:latin typeface="Arial"/>
              </a:defRPr>
            </a:lvl1pPr>
            <a:lvl2pPr marL="335756" indent="-235744" defTabSz="685800">
              <a:lnSpc>
                <a:spcPct val="90000"/>
              </a:lnSpc>
              <a:spcBef>
                <a:spcPts val="450"/>
              </a:spcBef>
              <a:buSzPct val="80000"/>
              <a:buFontTx/>
              <a:buBlip>
                <a:blip r:embed="rId8"/>
              </a:buBlip>
              <a:defRPr sz="1200">
                <a:solidFill>
                  <a:schemeClr val="bg2"/>
                </a:solidFill>
              </a:defRPr>
            </a:lvl2pPr>
            <a:lvl3pPr marL="535781" indent="-128588" defTabSz="68580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‒"/>
              <a:defRPr sz="1050">
                <a:solidFill>
                  <a:schemeClr val="bg2"/>
                </a:solidFill>
              </a:defRPr>
            </a:lvl3pPr>
            <a:lvl4pPr marL="740569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>
                <a:solidFill>
                  <a:schemeClr val="bg2"/>
                </a:solidFill>
              </a:defRPr>
            </a:lvl4pPr>
            <a:lvl5pPr marL="946547" indent="-171450" defTabSz="685800">
              <a:lnSpc>
                <a:spcPct val="90000"/>
              </a:lnSpc>
              <a:spcBef>
                <a:spcPts val="375"/>
              </a:spcBef>
              <a:buFont typeface="HelveticaNeueLT Std Lt Cn" panose="020B0406020202030204" pitchFamily="34" charset="0"/>
              <a:buChar char="−"/>
              <a:defRPr sz="788">
                <a:solidFill>
                  <a:schemeClr val="bg2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>
              <a:spcBef>
                <a:spcPts val="0"/>
              </a:spcBef>
            </a:pPr>
            <a:r>
              <a:rPr lang="en-IE" sz="700" dirty="0"/>
              <a:t>Source:  JNLR Platform Data 2025-3</a:t>
            </a:r>
            <a:r>
              <a:rPr lang="en-IE" dirty="0"/>
              <a:t>                               </a:t>
            </a:r>
            <a:endParaRPr lang="en-IE" sz="800" dirty="0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6EDC9F91-231B-4DD0-AEFA-7B74DF8EDA6D}"/>
              </a:ext>
            </a:extLst>
          </p:cNvPr>
          <p:cNvGrpSpPr/>
          <p:nvPr/>
        </p:nvGrpSpPr>
        <p:grpSpPr>
          <a:xfrm>
            <a:off x="4654776" y="1021034"/>
            <a:ext cx="4532946" cy="3232573"/>
            <a:chOff x="4579644" y="1112205"/>
            <a:chExt cx="4532946" cy="3232573"/>
          </a:xfrm>
        </p:grpSpPr>
        <p:graphicFrame>
          <p:nvGraphicFramePr>
            <p:cNvPr id="69" name="Content Placeholder 11">
              <a:extLst>
                <a:ext uri="{FF2B5EF4-FFF2-40B4-BE49-F238E27FC236}">
                  <a16:creationId xmlns:a16="http://schemas.microsoft.com/office/drawing/2014/main" id="{EFD61029-E8E4-4D33-98F9-1DB22BC5FE1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276682222"/>
                </p:ext>
              </p:extLst>
            </p:nvPr>
          </p:nvGraphicFramePr>
          <p:xfrm>
            <a:off x="4579644" y="1112205"/>
            <a:ext cx="4532946" cy="323257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F525D9F5-9347-4BA4-B1A7-57A3D8AEDFA5}"/>
                </a:ext>
              </a:extLst>
            </p:cNvPr>
            <p:cNvSpPr txBox="1"/>
            <p:nvPr/>
          </p:nvSpPr>
          <p:spPr>
            <a:xfrm>
              <a:off x="6312646" y="2728492"/>
              <a:ext cx="662362" cy="338554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marL="4763" algn="ctr">
                <a:defRPr sz="2400" b="1"/>
              </a:lvl1pPr>
            </a:lstStyle>
            <a:p>
              <a:pPr marL="4763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5F5F5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-34</a:t>
              </a:r>
            </a:p>
          </p:txBody>
        </p:sp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556B721E-FCF9-4533-9147-98372B00D2F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biLevel thresh="25000"/>
            </a:blip>
            <a:stretch>
              <a:fillRect/>
            </a:stretch>
          </p:blipFill>
          <p:spPr>
            <a:xfrm>
              <a:off x="6728764" y="1491304"/>
              <a:ext cx="220076" cy="355198"/>
            </a:xfrm>
            <a:prstGeom prst="rect">
              <a:avLst/>
            </a:prstGeom>
          </p:spPr>
        </p:pic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B5399378-F1D7-43AE-A2F0-A50DB10F77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biLevel thresh="50000"/>
            </a:blip>
            <a:stretch>
              <a:fillRect/>
            </a:stretch>
          </p:blipFill>
          <p:spPr>
            <a:xfrm>
              <a:off x="5269089" y="3092448"/>
              <a:ext cx="457200" cy="481693"/>
            </a:xfrm>
            <a:prstGeom prst="rect">
              <a:avLst/>
            </a:prstGeom>
          </p:spPr>
        </p:pic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85517B4D-D54B-4348-8797-95373B38B9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7597732" y="2314940"/>
              <a:ext cx="372194" cy="280066"/>
            </a:xfrm>
            <a:prstGeom prst="rect">
              <a:avLst/>
            </a:prstGeom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B3606B1B-084B-45F7-8486-AAA52BD0C90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biLevel thresh="25000"/>
            </a:blip>
            <a:stretch>
              <a:fillRect/>
            </a:stretch>
          </p:blipFill>
          <p:spPr>
            <a:xfrm>
              <a:off x="5956505" y="1409201"/>
              <a:ext cx="447112" cy="303214"/>
            </a:xfrm>
            <a:prstGeom prst="rect">
              <a:avLst/>
            </a:prstGeom>
          </p:spPr>
        </p:pic>
      </p:grpSp>
      <p:cxnSp>
        <p:nvCxnSpPr>
          <p:cNvPr id="76" name="Straight Connector 35">
            <a:extLst>
              <a:ext uri="{FF2B5EF4-FFF2-40B4-BE49-F238E27FC236}">
                <a16:creationId xmlns:a16="http://schemas.microsoft.com/office/drawing/2014/main" id="{6893788B-5F2B-4AE9-A213-2546DCCA8E99}"/>
              </a:ext>
            </a:extLst>
          </p:cNvPr>
          <p:cNvCxnSpPr>
            <a:cxnSpLocks/>
          </p:cNvCxnSpPr>
          <p:nvPr/>
        </p:nvCxnSpPr>
        <p:spPr>
          <a:xfrm flipV="1">
            <a:off x="4571954" y="1048393"/>
            <a:ext cx="0" cy="33832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FBBD5FE2-2673-4BEB-A5AB-F844D2A58ADD}"/>
              </a:ext>
            </a:extLst>
          </p:cNvPr>
          <p:cNvSpPr txBox="1">
            <a:spLocks/>
          </p:cNvSpPr>
          <p:nvPr/>
        </p:nvSpPr>
        <p:spPr>
          <a:xfrm>
            <a:off x="3962656" y="4584437"/>
            <a:ext cx="393192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4763" marR="0" lvl="0" indent="0" algn="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1" u="none" strike="noStrike" cap="none" spc="0" normalizeH="0" baseline="0">
                <a:ln>
                  <a:noFill/>
                </a:ln>
                <a:effectLst/>
                <a:uLnTx/>
                <a:uFillTx/>
                <a:latin typeface="Arial"/>
              </a:defRPr>
            </a:lvl1pPr>
            <a:lvl2pPr marL="335756" indent="-235744" defTabSz="685800">
              <a:lnSpc>
                <a:spcPct val="90000"/>
              </a:lnSpc>
              <a:spcBef>
                <a:spcPts val="450"/>
              </a:spcBef>
              <a:buSzPct val="80000"/>
              <a:buFontTx/>
              <a:buBlip>
                <a:blip r:embed="rId8"/>
              </a:buBlip>
              <a:defRPr sz="1200">
                <a:solidFill>
                  <a:schemeClr val="bg2"/>
                </a:solidFill>
              </a:defRPr>
            </a:lvl2pPr>
            <a:lvl3pPr marL="535781" indent="-128588" defTabSz="68580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‒"/>
              <a:defRPr sz="1050">
                <a:solidFill>
                  <a:schemeClr val="bg2"/>
                </a:solidFill>
              </a:defRPr>
            </a:lvl3pPr>
            <a:lvl4pPr marL="740569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>
                <a:solidFill>
                  <a:schemeClr val="bg2"/>
                </a:solidFill>
              </a:defRPr>
            </a:lvl4pPr>
            <a:lvl5pPr marL="946547" indent="-171450" defTabSz="685800">
              <a:lnSpc>
                <a:spcPct val="90000"/>
              </a:lnSpc>
              <a:spcBef>
                <a:spcPts val="375"/>
              </a:spcBef>
              <a:buFont typeface="HelveticaNeueLT Std Lt Cn" panose="020B0406020202030204" pitchFamily="34" charset="0"/>
              <a:buChar char="−"/>
              <a:defRPr sz="788">
                <a:solidFill>
                  <a:schemeClr val="bg2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r>
              <a:rPr lang="en-IE" dirty="0"/>
              <a:t>	  * Based on share of minutes 7am-midnight, to Irish stations	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A28D3CE-D995-4A13-BD32-A3ED80F18968}"/>
              </a:ext>
            </a:extLst>
          </p:cNvPr>
          <p:cNvSpPr/>
          <p:nvPr/>
        </p:nvSpPr>
        <p:spPr>
          <a:xfrm>
            <a:off x="3907990" y="2294585"/>
            <a:ext cx="66396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V Set</a:t>
            </a:r>
            <a:endParaRPr lang="en-IE" sz="1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2530" name="Picture 2" descr="Loud smart speaker icon outline style Royalty Free Vector">
            <a:extLst>
              <a:ext uri="{FF2B5EF4-FFF2-40B4-BE49-F238E27FC236}">
                <a16:creationId xmlns:a16="http://schemas.microsoft.com/office/drawing/2014/main" id="{B44B88D0-6F29-4DF5-B919-D32E444F90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973"/>
          <a:stretch/>
        </p:blipFill>
        <p:spPr bwMode="auto">
          <a:xfrm>
            <a:off x="3468599" y="1822644"/>
            <a:ext cx="365760" cy="452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Loud smart speaker icon outline style Royalty Free Vector">
            <a:extLst>
              <a:ext uri="{FF2B5EF4-FFF2-40B4-BE49-F238E27FC236}">
                <a16:creationId xmlns:a16="http://schemas.microsoft.com/office/drawing/2014/main" id="{2EE9587D-11EE-49C9-92EB-B0A007C404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973"/>
          <a:stretch/>
        </p:blipFill>
        <p:spPr bwMode="auto">
          <a:xfrm>
            <a:off x="7421531" y="1792453"/>
            <a:ext cx="365760" cy="355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F906AA64-32B9-4704-A5D7-DA79A219C778}"/>
              </a:ext>
            </a:extLst>
          </p:cNvPr>
          <p:cNvSpPr/>
          <p:nvPr/>
        </p:nvSpPr>
        <p:spPr>
          <a:xfrm>
            <a:off x="7682019" y="1792453"/>
            <a:ext cx="7809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mart</a:t>
            </a:r>
          </a:p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peaker</a:t>
            </a:r>
            <a:endParaRPr lang="en-IE" sz="1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BC52050F-F1ED-2FCE-9A01-997A9F08E8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5</a:t>
            </a:fld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64791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b="1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D4F6ED0-83E4-E1C2-D6DA-CAF5CEB1DC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3AE1F03A-67EF-E4CF-7C78-E2DB02CFD4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6</a:t>
            </a:fld>
            <a:r>
              <a:rPr lang="en-GB" dirty="0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8AD8519-37D0-A0E3-B2AB-950B35DA3742}"/>
              </a:ext>
            </a:extLst>
          </p:cNvPr>
          <p:cNvSpPr txBox="1"/>
          <p:nvPr/>
        </p:nvSpPr>
        <p:spPr>
          <a:xfrm>
            <a:off x="5840643" y="2104733"/>
            <a:ext cx="1620957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/>
            <a:r>
              <a:rPr lang="en-IE" sz="3200" b="1" dirty="0">
                <a:solidFill>
                  <a:schemeClr val="bg1"/>
                </a:solidFill>
              </a:rPr>
              <a:t>National</a:t>
            </a:r>
          </a:p>
        </p:txBody>
      </p:sp>
    </p:spTree>
    <p:extLst>
      <p:ext uri="{BB962C8B-B14F-4D97-AF65-F5344CB8AC3E}">
        <p14:creationId xmlns:p14="http://schemas.microsoft.com/office/powerpoint/2010/main" val="3486698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Connector 35">
            <a:extLst>
              <a:ext uri="{FF2B5EF4-FFF2-40B4-BE49-F238E27FC236}">
                <a16:creationId xmlns:a16="http://schemas.microsoft.com/office/drawing/2014/main" id="{7416BA13-8970-4105-9889-1873024FFA45}"/>
              </a:ext>
            </a:extLst>
          </p:cNvPr>
          <p:cNvCxnSpPr>
            <a:cxnSpLocks/>
          </p:cNvCxnSpPr>
          <p:nvPr/>
        </p:nvCxnSpPr>
        <p:spPr>
          <a:xfrm flipV="1">
            <a:off x="4571954" y="1048393"/>
            <a:ext cx="0" cy="33832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35">
            <a:extLst>
              <a:ext uri="{FF2B5EF4-FFF2-40B4-BE49-F238E27FC236}">
                <a16:creationId xmlns:a16="http://schemas.microsoft.com/office/drawing/2014/main" id="{59918C7A-83CD-4834-9B71-79703F2046E1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2054615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000" y="0"/>
            <a:ext cx="8646971" cy="443198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pPr defTabSz="685800">
              <a:spcBef>
                <a:spcPct val="0"/>
              </a:spcBef>
            </a:pPr>
            <a:r>
              <a:rPr lang="en-IE" sz="2000" b="1" cap="all" spc="-75" dirty="0">
                <a:solidFill>
                  <a:srgbClr val="7F7F7F"/>
                </a:solidFill>
                <a:ea typeface="+mj-ea"/>
                <a:cs typeface="+mj-cs"/>
              </a:rPr>
              <a:t>Weekly Reach – National &amp; National Sales Houses</a:t>
            </a:r>
            <a:endParaRPr lang="en-GB" sz="2000" b="1" cap="all" spc="-75" dirty="0">
              <a:solidFill>
                <a:srgbClr val="7F7F7F"/>
              </a:solidFill>
              <a:ea typeface="+mj-ea"/>
              <a:cs typeface="+mj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224598" y="4488814"/>
            <a:ext cx="2143045" cy="276999"/>
          </a:xfrm>
        </p:spPr>
        <p:txBody>
          <a:bodyPr vert="horz" wrap="square" lIns="180000" tIns="45720" rIns="91440" bIns="45720" rtlCol="0" anchor="b">
            <a:spAutoFit/>
          </a:bodyPr>
          <a:lstStyle/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Universe:  4,402</a:t>
            </a:r>
          </a:p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12,466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984094" y="4488814"/>
            <a:ext cx="2143045" cy="276999"/>
          </a:xfrm>
        </p:spPr>
        <p:txBody>
          <a:bodyPr vert="horz" wrap="square" lIns="180000" tIns="45720" rIns="91440" bIns="45720" rtlCol="0" anchor="b">
            <a:spAutoFit/>
          </a:bodyPr>
          <a:lstStyle/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Universe:  1,248</a:t>
            </a:r>
          </a:p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3,563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430152" y="597006"/>
            <a:ext cx="1506823" cy="30777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GB" dirty="0"/>
              <a:t>All Adults 000’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351274" y="597006"/>
            <a:ext cx="1224759" cy="30777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rgbClr val="648FBA"/>
                </a:solidFill>
              </a:defRPr>
            </a:lvl1pPr>
          </a:lstStyle>
          <a:p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SHWK 000’s</a:t>
            </a:r>
          </a:p>
        </p:txBody>
      </p:sp>
      <p:sp>
        <p:nvSpPr>
          <p:cNvPr id="38" name="Rectangle 37"/>
          <p:cNvSpPr/>
          <p:nvPr/>
        </p:nvSpPr>
        <p:spPr>
          <a:xfrm>
            <a:off x="3659932" y="2626115"/>
            <a:ext cx="1824137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Sales Hous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7D9730E-5A97-446D-9081-EE506CEFCE94}"/>
              </a:ext>
            </a:extLst>
          </p:cNvPr>
          <p:cNvSpPr/>
          <p:nvPr/>
        </p:nvSpPr>
        <p:spPr>
          <a:xfrm>
            <a:off x="3659932" y="581495"/>
            <a:ext cx="1824137" cy="307777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National Stations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32B8B559-41F2-53DF-8B11-7FFE07312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7</a:t>
            </a:fld>
            <a:r>
              <a:rPr lang="en-GB" dirty="0"/>
              <a:t> </a:t>
            </a:r>
          </a:p>
        </p:txBody>
      </p:sp>
      <p:graphicFrame>
        <p:nvGraphicFramePr>
          <p:cNvPr id="2" name="Content Placeholder 7">
            <a:extLst>
              <a:ext uri="{FF2B5EF4-FFF2-40B4-BE49-F238E27FC236}">
                <a16:creationId xmlns:a16="http://schemas.microsoft.com/office/drawing/2014/main" id="{8028F085-18FC-714E-4872-6904AA14955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81316521"/>
              </p:ext>
            </p:extLst>
          </p:nvPr>
        </p:nvGraphicFramePr>
        <p:xfrm>
          <a:off x="278305" y="881760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Content Placeholder 7">
            <a:extLst>
              <a:ext uri="{FF2B5EF4-FFF2-40B4-BE49-F238E27FC236}">
                <a16:creationId xmlns:a16="http://schemas.microsoft.com/office/drawing/2014/main" id="{C314FF4C-6286-CB27-6DA8-95DB7711110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48183757"/>
              </p:ext>
            </p:extLst>
          </p:nvPr>
        </p:nvGraphicFramePr>
        <p:xfrm>
          <a:off x="297561" y="2858981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Content Placeholder 7">
            <a:extLst>
              <a:ext uri="{FF2B5EF4-FFF2-40B4-BE49-F238E27FC236}">
                <a16:creationId xmlns:a16="http://schemas.microsoft.com/office/drawing/2014/main" id="{B3B40729-852F-0D5C-0A7A-D4647CBD3D2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25086349"/>
              </p:ext>
            </p:extLst>
          </p:nvPr>
        </p:nvGraphicFramePr>
        <p:xfrm>
          <a:off x="5112903" y="881760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Content Placeholder 7">
            <a:extLst>
              <a:ext uri="{FF2B5EF4-FFF2-40B4-BE49-F238E27FC236}">
                <a16:creationId xmlns:a16="http://schemas.microsoft.com/office/drawing/2014/main" id="{7C38FC3D-311E-AC9B-4281-364608A132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03317791"/>
              </p:ext>
            </p:extLst>
          </p:nvPr>
        </p:nvGraphicFramePr>
        <p:xfrm>
          <a:off x="5112903" y="2858981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4AE5573F-F461-7F76-4576-826433AB12B0}"/>
              </a:ext>
            </a:extLst>
          </p:cNvPr>
          <p:cNvSpPr txBox="1"/>
          <p:nvPr/>
        </p:nvSpPr>
        <p:spPr>
          <a:xfrm>
            <a:off x="3080764" y="4814591"/>
            <a:ext cx="2552302" cy="9233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r"/>
            <a:r>
              <a:rPr lang="en-GB" sz="600" b="1" i="1" dirty="0">
                <a:solidFill>
                  <a:schemeClr val="accent2">
                    <a:lumMod val="75000"/>
                  </a:schemeClr>
                </a:solidFill>
              </a:rPr>
              <a:t>RTE definition 2025 has been updated to include Raidio na Gaeltachta</a:t>
            </a:r>
            <a:endParaRPr lang="en-IE" sz="6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8460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D5B7E27D-9134-4C17-8A7F-504060FE2781}"/>
              </a:ext>
            </a:extLst>
          </p:cNvPr>
          <p:cNvCxnSpPr>
            <a:cxnSpLocks/>
          </p:cNvCxnSpPr>
          <p:nvPr/>
        </p:nvCxnSpPr>
        <p:spPr>
          <a:xfrm flipV="1">
            <a:off x="4571954" y="1048393"/>
            <a:ext cx="0" cy="33832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000" y="0"/>
            <a:ext cx="8646971" cy="443198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pPr defTabSz="685800">
              <a:spcBef>
                <a:spcPct val="0"/>
              </a:spcBef>
            </a:pPr>
            <a:r>
              <a:rPr lang="en-IE" sz="2000" b="1" cap="all" spc="-75" dirty="0">
                <a:solidFill>
                  <a:srgbClr val="7F7F7F"/>
                </a:solidFill>
                <a:ea typeface="+mj-ea"/>
                <a:cs typeface="+mj-cs"/>
              </a:rPr>
              <a:t>Weekly Reach – National &amp; National Sales Houses</a:t>
            </a:r>
            <a:endParaRPr lang="en-GB" sz="2000" b="1" cap="all" spc="-75" dirty="0">
              <a:solidFill>
                <a:srgbClr val="7F7F7F"/>
              </a:solidFill>
              <a:ea typeface="+mj-ea"/>
              <a:cs typeface="+mj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615972" y="597006"/>
            <a:ext cx="1135183" cy="30777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15-34 000’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396063" y="597006"/>
            <a:ext cx="1135183" cy="30777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25-44 000’s</a:t>
            </a:r>
          </a:p>
        </p:txBody>
      </p:sp>
      <p:sp>
        <p:nvSpPr>
          <p:cNvPr id="38" name="Rectangle 37"/>
          <p:cNvSpPr/>
          <p:nvPr/>
        </p:nvSpPr>
        <p:spPr>
          <a:xfrm>
            <a:off x="3659932" y="2630423"/>
            <a:ext cx="1824137" cy="307777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Sales Houses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95011B47-C386-4B08-A6B3-A5BC287929F4}"/>
              </a:ext>
            </a:extLst>
          </p:cNvPr>
          <p:cNvSpPr txBox="1">
            <a:spLocks/>
          </p:cNvSpPr>
          <p:nvPr/>
        </p:nvSpPr>
        <p:spPr>
          <a:xfrm>
            <a:off x="224598" y="4488814"/>
            <a:ext cx="2143045" cy="276999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Universe:	  1,353</a:t>
            </a:r>
          </a:p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  3,690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97D36195-B2EC-4903-90E1-53008862D553}"/>
              </a:ext>
            </a:extLst>
          </p:cNvPr>
          <p:cNvSpPr txBox="1">
            <a:spLocks/>
          </p:cNvSpPr>
          <p:nvPr/>
        </p:nvSpPr>
        <p:spPr>
          <a:xfrm>
            <a:off x="4984094" y="4488814"/>
            <a:ext cx="2143045" cy="276999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Universe:  1,485</a:t>
            </a:r>
          </a:p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 4,294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BD1C36B-0CC5-481F-B489-89EFEA66DCD4}"/>
              </a:ext>
            </a:extLst>
          </p:cNvPr>
          <p:cNvSpPr/>
          <p:nvPr/>
        </p:nvSpPr>
        <p:spPr>
          <a:xfrm>
            <a:off x="3659932" y="597006"/>
            <a:ext cx="1824137" cy="307777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National Stations</a:t>
            </a:r>
          </a:p>
        </p:txBody>
      </p:sp>
      <p:cxnSp>
        <p:nvCxnSpPr>
          <p:cNvPr id="4" name="Straight Connector 35">
            <a:extLst>
              <a:ext uri="{FF2B5EF4-FFF2-40B4-BE49-F238E27FC236}">
                <a16:creationId xmlns:a16="http://schemas.microsoft.com/office/drawing/2014/main" id="{10469CDA-6377-8BE2-160A-6E083614FA51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2054615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">
            <a:extLst>
              <a:ext uri="{FF2B5EF4-FFF2-40B4-BE49-F238E27FC236}">
                <a16:creationId xmlns:a16="http://schemas.microsoft.com/office/drawing/2014/main" id="{DF718514-D461-EF08-9D0A-B8D4404B49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8</a:t>
            </a:fld>
            <a:r>
              <a:rPr lang="en-GB" dirty="0"/>
              <a:t> </a:t>
            </a:r>
          </a:p>
        </p:txBody>
      </p:sp>
      <p:graphicFrame>
        <p:nvGraphicFramePr>
          <p:cNvPr id="2" name="Content Placeholder 7">
            <a:extLst>
              <a:ext uri="{FF2B5EF4-FFF2-40B4-BE49-F238E27FC236}">
                <a16:creationId xmlns:a16="http://schemas.microsoft.com/office/drawing/2014/main" id="{68EF796E-A3D9-E20B-C606-D5795E5AA00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41217534"/>
              </p:ext>
            </p:extLst>
          </p:nvPr>
        </p:nvGraphicFramePr>
        <p:xfrm>
          <a:off x="278305" y="881760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ontent Placeholder 7">
            <a:extLst>
              <a:ext uri="{FF2B5EF4-FFF2-40B4-BE49-F238E27FC236}">
                <a16:creationId xmlns:a16="http://schemas.microsoft.com/office/drawing/2014/main" id="{5A136BC9-C803-C082-0DEA-66C9D7DA723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8123295"/>
              </p:ext>
            </p:extLst>
          </p:nvPr>
        </p:nvGraphicFramePr>
        <p:xfrm>
          <a:off x="278305" y="2858981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ontent Placeholder 7">
            <a:extLst>
              <a:ext uri="{FF2B5EF4-FFF2-40B4-BE49-F238E27FC236}">
                <a16:creationId xmlns:a16="http://schemas.microsoft.com/office/drawing/2014/main" id="{33BCBC82-E1E7-60BD-A28A-EDF82F6713A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0263942"/>
              </p:ext>
            </p:extLst>
          </p:nvPr>
        </p:nvGraphicFramePr>
        <p:xfrm>
          <a:off x="5112903" y="881760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3718E6AD-22E6-DC2F-9C9E-BAC857C762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68874163"/>
              </p:ext>
            </p:extLst>
          </p:nvPr>
        </p:nvGraphicFramePr>
        <p:xfrm>
          <a:off x="5112903" y="2858981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060B25C7-2361-ACAE-52E2-285E6032A50C}"/>
              </a:ext>
            </a:extLst>
          </p:cNvPr>
          <p:cNvSpPr txBox="1"/>
          <p:nvPr/>
        </p:nvSpPr>
        <p:spPr>
          <a:xfrm>
            <a:off x="3281334" y="4811979"/>
            <a:ext cx="2552302" cy="9233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r"/>
            <a:r>
              <a:rPr lang="en-GB" sz="600" b="1" i="1" dirty="0">
                <a:solidFill>
                  <a:schemeClr val="accent2">
                    <a:lumMod val="75000"/>
                  </a:schemeClr>
                </a:solidFill>
              </a:rPr>
              <a:t>RTE definition 2025 has been updated to include Raidio na Gaeltachta</a:t>
            </a:r>
            <a:endParaRPr lang="en-IE" sz="6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90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000" y="0"/>
            <a:ext cx="8646971" cy="443198"/>
          </a:xfrm>
        </p:spPr>
        <p:txBody>
          <a:bodyPr vert="horz" wrap="square" lIns="162000" tIns="45720" rIns="162000" bIns="45720" rtlCol="0" anchor="b">
            <a:spAutoFit/>
          </a:bodyPr>
          <a:lstStyle/>
          <a:p>
            <a:pPr defTabSz="685800">
              <a:spcBef>
                <a:spcPct val="0"/>
              </a:spcBef>
            </a:pPr>
            <a:r>
              <a:rPr lang="en-IE" sz="2000" b="1" cap="all" spc="-75" dirty="0">
                <a:solidFill>
                  <a:srgbClr val="7F7F7F"/>
                </a:solidFill>
                <a:ea typeface="+mj-ea"/>
                <a:cs typeface="+mj-cs"/>
              </a:rPr>
              <a:t>Weekly Reach – National &amp; National Sales Houses</a:t>
            </a:r>
            <a:endParaRPr lang="en-GB" sz="2000" b="1" cap="all" spc="-75" dirty="0">
              <a:solidFill>
                <a:srgbClr val="7F7F7F"/>
              </a:solidFill>
              <a:ea typeface="+mj-ea"/>
              <a:cs typeface="+mj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615972" y="597006"/>
            <a:ext cx="1135183" cy="30777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35-54 000’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473007" y="597006"/>
            <a:ext cx="981294" cy="30777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 dirty="0"/>
              <a:t>45+ 000’s</a:t>
            </a:r>
          </a:p>
        </p:txBody>
      </p:sp>
      <p:graphicFrame>
        <p:nvGraphicFramePr>
          <p:cNvPr id="23" name="Content Placeholder 7">
            <a:extLst>
              <a:ext uri="{FF2B5EF4-FFF2-40B4-BE49-F238E27FC236}">
                <a16:creationId xmlns:a16="http://schemas.microsoft.com/office/drawing/2014/main" id="{F3B50E6E-8AB4-46A7-AE30-50E7EC858D2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90411659"/>
              </p:ext>
            </p:extLst>
          </p:nvPr>
        </p:nvGraphicFramePr>
        <p:xfrm>
          <a:off x="278305" y="2858981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4" name="Content Placeholder 7">
            <a:extLst>
              <a:ext uri="{FF2B5EF4-FFF2-40B4-BE49-F238E27FC236}">
                <a16:creationId xmlns:a16="http://schemas.microsoft.com/office/drawing/2014/main" id="{7DB4EE36-4ED7-43D8-A38F-BDD3DBDD4A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64135089"/>
              </p:ext>
            </p:extLst>
          </p:nvPr>
        </p:nvGraphicFramePr>
        <p:xfrm>
          <a:off x="5112903" y="881760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Content Placeholder 7">
            <a:extLst>
              <a:ext uri="{FF2B5EF4-FFF2-40B4-BE49-F238E27FC236}">
                <a16:creationId xmlns:a16="http://schemas.microsoft.com/office/drawing/2014/main" id="{A46C123A-EA7E-452B-AC63-E64B9E10C12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71488114"/>
              </p:ext>
            </p:extLst>
          </p:nvPr>
        </p:nvGraphicFramePr>
        <p:xfrm>
          <a:off x="5112903" y="2858981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87AE567E-2B07-482F-9B2F-44B5BAD22B46}"/>
              </a:ext>
            </a:extLst>
          </p:cNvPr>
          <p:cNvSpPr/>
          <p:nvPr/>
        </p:nvSpPr>
        <p:spPr>
          <a:xfrm>
            <a:off x="3659932" y="597006"/>
            <a:ext cx="1824137" cy="307777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National Stations</a:t>
            </a:r>
          </a:p>
        </p:txBody>
      </p:sp>
      <p:cxnSp>
        <p:nvCxnSpPr>
          <p:cNvPr id="20" name="Straight Connector 35">
            <a:extLst>
              <a:ext uri="{FF2B5EF4-FFF2-40B4-BE49-F238E27FC236}">
                <a16:creationId xmlns:a16="http://schemas.microsoft.com/office/drawing/2014/main" id="{42AD93FF-AAF9-4E21-82D7-A7739A40FFB7}"/>
              </a:ext>
            </a:extLst>
          </p:cNvPr>
          <p:cNvCxnSpPr>
            <a:cxnSpLocks/>
          </p:cNvCxnSpPr>
          <p:nvPr/>
        </p:nvCxnSpPr>
        <p:spPr>
          <a:xfrm flipV="1">
            <a:off x="4571954" y="1048393"/>
            <a:ext cx="0" cy="338328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3659932" y="2630423"/>
            <a:ext cx="1824137" cy="307777"/>
          </a:xfrm>
          <a:prstGeom prst="rect">
            <a:avLst/>
          </a:prstGeom>
          <a:solidFill>
            <a:schemeClr val="accent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Arial"/>
              </a:rPr>
              <a:t>Sales Houses</a:t>
            </a:r>
          </a:p>
        </p:txBody>
      </p:sp>
      <p:cxnSp>
        <p:nvCxnSpPr>
          <p:cNvPr id="4" name="Straight Connector 35">
            <a:extLst>
              <a:ext uri="{FF2B5EF4-FFF2-40B4-BE49-F238E27FC236}">
                <a16:creationId xmlns:a16="http://schemas.microsoft.com/office/drawing/2014/main" id="{7E65B872-817F-EAB3-8B00-9224B4E63695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72000" y="-2054615"/>
            <a:ext cx="0" cy="9144000"/>
          </a:xfrm>
          <a:prstGeom prst="line">
            <a:avLst/>
          </a:prstGeom>
          <a:ln w="3810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">
            <a:extLst>
              <a:ext uri="{FF2B5EF4-FFF2-40B4-BE49-F238E27FC236}">
                <a16:creationId xmlns:a16="http://schemas.microsoft.com/office/drawing/2014/main" id="{D99EB033-4D2B-2F32-8918-B47888CA55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691" y="4749430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/>
              <a:pPr/>
              <a:t>9</a:t>
            </a:fld>
            <a:r>
              <a:rPr lang="en-GB" dirty="0"/>
              <a:t> </a:t>
            </a:r>
          </a:p>
        </p:txBody>
      </p:sp>
      <p:graphicFrame>
        <p:nvGraphicFramePr>
          <p:cNvPr id="2" name="Content Placeholder 7">
            <a:extLst>
              <a:ext uri="{FF2B5EF4-FFF2-40B4-BE49-F238E27FC236}">
                <a16:creationId xmlns:a16="http://schemas.microsoft.com/office/drawing/2014/main" id="{9E1D83B9-CC89-22AB-600E-C61A6FD18DE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7379832"/>
              </p:ext>
            </p:extLst>
          </p:nvPr>
        </p:nvGraphicFramePr>
        <p:xfrm>
          <a:off x="411655" y="881760"/>
          <a:ext cx="3733537" cy="163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23ACEE-8A04-8A32-3148-F110D461C706}"/>
              </a:ext>
            </a:extLst>
          </p:cNvPr>
          <p:cNvSpPr txBox="1">
            <a:spLocks/>
          </p:cNvSpPr>
          <p:nvPr/>
        </p:nvSpPr>
        <p:spPr>
          <a:xfrm>
            <a:off x="224598" y="4488814"/>
            <a:ext cx="2143045" cy="276999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Universe:	    1,584</a:t>
            </a:r>
          </a:p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517525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 4,401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E73E643-79A0-CACD-2AB4-9BA5105CB998}"/>
              </a:ext>
            </a:extLst>
          </p:cNvPr>
          <p:cNvSpPr txBox="1">
            <a:spLocks/>
          </p:cNvSpPr>
          <p:nvPr/>
        </p:nvSpPr>
        <p:spPr>
          <a:xfrm>
            <a:off x="4984094" y="4488814"/>
            <a:ext cx="2143045" cy="276999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Universe:  2,231</a:t>
            </a:r>
          </a:p>
          <a:p>
            <a:pPr marL="342900" indent="-342900" defTabSz="685800">
              <a:spcBef>
                <a:spcPts val="0"/>
              </a:spcBef>
              <a:spcAft>
                <a:spcPts val="0"/>
              </a:spcAft>
              <a:buSzPct val="50000"/>
              <a:buFont typeface="HelveticaNeueLT Std Lt Cn" panose="020B0406020202030204" pitchFamily="34" charset="0"/>
              <a:tabLst>
                <a:tab pos="914400" algn="l"/>
              </a:tabLst>
            </a:pPr>
            <a:r>
              <a:rPr lang="en-GB" sz="600" i="1" cap="none" dirty="0">
                <a:latin typeface="+mn-lt"/>
                <a:cs typeface="+mn-cs"/>
              </a:rPr>
              <a:t>Sample:   6,385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64BA7F-BF5E-EAB7-7F8C-B8DC82DA4E88}"/>
              </a:ext>
            </a:extLst>
          </p:cNvPr>
          <p:cNvSpPr txBox="1"/>
          <p:nvPr/>
        </p:nvSpPr>
        <p:spPr>
          <a:xfrm>
            <a:off x="3230881" y="4814591"/>
            <a:ext cx="2552302" cy="9233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r"/>
            <a:r>
              <a:rPr lang="en-GB" sz="600" b="1" i="1" dirty="0">
                <a:solidFill>
                  <a:schemeClr val="accent2">
                    <a:lumMod val="75000"/>
                  </a:schemeClr>
                </a:solidFill>
              </a:rPr>
              <a:t>RTE definition 2025 has been updated to include Raidio na Gaeltachta</a:t>
            </a:r>
            <a:endParaRPr lang="en-IE" sz="6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56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8341960|-3468525|-2064878|-9539986|Markido&quot;,&quot;Id&quot;:&quot;5dadc71a44333210083a81d4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heme/theme1.xml><?xml version="1.0" encoding="utf-8"?>
<a:theme xmlns:a="http://schemas.openxmlformats.org/drawingml/2006/main" name="Ipsos PowerPoint Template (2015)">
  <a:themeElements>
    <a:clrScheme name="23-092916-JNLR-Sales House Report 2025-3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6E8337"/>
      </a:accent1>
      <a:accent2>
        <a:srgbClr val="0070C0"/>
      </a:accent2>
      <a:accent3>
        <a:srgbClr val="00FFCC"/>
      </a:accent3>
      <a:accent4>
        <a:srgbClr val="FF9966"/>
      </a:accent4>
      <a:accent5>
        <a:srgbClr val="7F7F7F"/>
      </a:accent5>
      <a:accent6>
        <a:srgbClr val="996633"/>
      </a:accent6>
      <a:hlink>
        <a:srgbClr val="00706E"/>
      </a:hlink>
      <a:folHlink>
        <a:srgbClr val="96A9A9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>
          <a:solidFill>
            <a:schemeClr val="bg2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/>
      <a:bodyPr vert="horz" wrap="square" lIns="0" tIns="0" rIns="0" bIns="0" rtlCol="0">
        <a:spAutoFit/>
      </a:bodyPr>
      <a:lstStyle>
        <a:defPPr marL="4763">
          <a:defRPr sz="11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E30ECA97-8C91-4FF0-AB17-23E58CB85600}" vid="{5B8968DA-E77A-4D4F-99B8-7FA7CF4E841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9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0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1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2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3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4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5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6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7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8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9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0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1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23-092916-JNLR-Sales House Report 2025-3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6E8337"/>
    </a:accent1>
    <a:accent2>
      <a:srgbClr val="0070C0"/>
    </a:accent2>
    <a:accent3>
      <a:srgbClr val="00FFCC"/>
    </a:accent3>
    <a:accent4>
      <a:srgbClr val="FF9966"/>
    </a:accent4>
    <a:accent5>
      <a:srgbClr val="7F7F7F"/>
    </a:accent5>
    <a:accent6>
      <a:srgbClr val="996633"/>
    </a:accent6>
    <a:hlink>
      <a:srgbClr val="00706E"/>
    </a:hlink>
    <a:folHlink>
      <a:srgbClr val="96A9A9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307B01B65ECD745BECD9F3346AAEEEE" ma:contentTypeVersion="14" ma:contentTypeDescription="Create a new document." ma:contentTypeScope="" ma:versionID="b8d954993bef3662b156220e4724c885">
  <xsd:schema xmlns:xsd="http://www.w3.org/2001/XMLSchema" xmlns:xs="http://www.w3.org/2001/XMLSchema" xmlns:p="http://schemas.microsoft.com/office/2006/metadata/properties" xmlns:ns2="782e9fc2-0629-4f66-9908-5dcb6384578c" xmlns:ns3="4d92418d-5ee0-43a1-9152-e8920d1d3c9c" targetNamespace="http://schemas.microsoft.com/office/2006/metadata/properties" ma:root="true" ma:fieldsID="099a352f1b896ef70a73d9fc5d8006ee" ns2:_="" ns3:_="">
    <xsd:import namespace="782e9fc2-0629-4f66-9908-5dcb6384578c"/>
    <xsd:import namespace="4d92418d-5ee0-43a1-9152-e8920d1d3c9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2e9fc2-0629-4f66-9908-5dcb638457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6" nillable="true" ma:displayName="Location" ma:description="" ma:indexed="true" ma:internalName="MediaServiceLocation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120647d-17bd-4a63-9afd-bbea8594ace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92418d-5ee0-43a1-9152-e8920d1d3c9c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25f545af-843c-4915-aafe-d00eedc128e7}" ma:internalName="TaxCatchAll" ma:showField="CatchAllData" ma:web="4d92418d-5ee0-43a1-9152-e8920d1d3c9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d92418d-5ee0-43a1-9152-e8920d1d3c9c" xsi:nil="true"/>
    <lcf76f155ced4ddcb4097134ff3c332f xmlns="782e9fc2-0629-4f66-9908-5dcb6384578c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43B1BF3-8A3B-4664-9789-D2696CC6A1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82e9fc2-0629-4f66-9908-5dcb6384578c"/>
    <ds:schemaRef ds:uri="4d92418d-5ee0-43a1-9152-e8920d1d3c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97C1C11-26D5-4241-B0C8-2DD98BB01C33}">
  <ds:schemaRefs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schemas.microsoft.com/office/infopath/2007/PartnerControls"/>
    <ds:schemaRef ds:uri="4d92418d-5ee0-43a1-9152-e8920d1d3c9c"/>
    <ds:schemaRef ds:uri="782e9fc2-0629-4f66-9908-5dcb6384578c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0BE81C0E-3F75-4FAC-B0E4-683331D5F1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681</TotalTime>
  <Words>1603</Words>
  <Application>Microsoft Office PowerPoint</Application>
  <PresentationFormat>On-screen Show (16:9)</PresentationFormat>
  <Paragraphs>601</Paragraphs>
  <Slides>39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7" baseType="lpstr">
      <vt:lpstr>Arial</vt:lpstr>
      <vt:lpstr>Arial Black</vt:lpstr>
      <vt:lpstr>BauerMedia Sans</vt:lpstr>
      <vt:lpstr>Calibri</vt:lpstr>
      <vt:lpstr>HelveticaNeueLT Std Lt Cn</vt:lpstr>
      <vt:lpstr>Wingdings</vt:lpstr>
      <vt:lpstr>Ipsos PowerPoint Template (2015)</vt:lpstr>
      <vt:lpstr>Diapositive think-cell</vt:lpstr>
      <vt:lpstr>PowerPoint Presentation</vt:lpstr>
      <vt:lpstr>Note to the Reader … </vt:lpstr>
      <vt:lpstr>PowerPoint Presentation</vt:lpstr>
      <vt:lpstr>Radio Today </vt:lpstr>
      <vt:lpstr>PowerPoint Presentation</vt:lpstr>
      <vt:lpstr>PowerPoint Presentation</vt:lpstr>
      <vt:lpstr>Weekly Reach – National &amp; National Sales Houses</vt:lpstr>
      <vt:lpstr>Weekly Reach – National &amp; National Sales Houses</vt:lpstr>
      <vt:lpstr>Weekly Reach – National &amp; National Sales Houses</vt:lpstr>
      <vt:lpstr>PT Market Share National &amp; Sales Houses</vt:lpstr>
      <vt:lpstr>PT Market Share National &amp; Sales Houses</vt:lpstr>
      <vt:lpstr>PT Market Share National &amp; Sales Houses</vt:lpstr>
      <vt:lpstr>PowerPoint Presentation</vt:lpstr>
      <vt:lpstr>Weekly Reach – Dublin &amp; Dublin Sales Houses</vt:lpstr>
      <vt:lpstr>Weekly Reach – Dublin &amp; Dublin Sales Houses</vt:lpstr>
      <vt:lpstr>Weekly Reach – Dublin &amp; Dublin Sales Houses</vt:lpstr>
      <vt:lpstr>PT Market Share Dublin &amp; Sales Houses</vt:lpstr>
      <vt:lpstr>PT Market Share Dublin &amp; Sales Houses</vt:lpstr>
      <vt:lpstr>PT Market Share Dublin &amp; Sales Houses</vt:lpstr>
      <vt:lpstr>PowerPoint Presentation</vt:lpstr>
      <vt:lpstr>Weekly Reach – Cork &amp; Cork Sales Houses</vt:lpstr>
      <vt:lpstr>Weekly Reach – Cork &amp; Cork Sales Houses</vt:lpstr>
      <vt:lpstr>Weekly Reach – Cork &amp; Cork Sales Houses</vt:lpstr>
      <vt:lpstr>PT Market Share Cork &amp; Sales Houses</vt:lpstr>
      <vt:lpstr>PT Market Share Cork &amp; Sales Houses</vt:lpstr>
      <vt:lpstr>PT Market Share Cork &amp; Sales Houses</vt:lpstr>
      <vt:lpstr>PowerPoint Presentation</vt:lpstr>
      <vt:lpstr>Weekly Reach – Regional</vt:lpstr>
      <vt:lpstr>PT Market Share Regional – 2025-3</vt:lpstr>
      <vt:lpstr>PowerPoint Presentation</vt:lpstr>
      <vt:lpstr>Weekly Reach – Local Areas </vt:lpstr>
      <vt:lpstr>PT Share Local Areas - All Adults</vt:lpstr>
      <vt:lpstr>PT Share Local Areas - All Adults</vt:lpstr>
      <vt:lpstr>PT Share Local Areas - shoppers with Children</vt:lpstr>
      <vt:lpstr>PT Share Local Areas – shoppers with Children</vt:lpstr>
      <vt:lpstr>PowerPoint Presentation</vt:lpstr>
      <vt:lpstr>PowerPoint Presentation</vt:lpstr>
      <vt:lpstr>PowerPoint Presentation</vt:lpstr>
      <vt:lpstr>Sales House Composition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4-096094-JNLR-Sales House Report 2025-3</dc:title>
  <dc:creator>Karen.Hall@ipsos.com</dc:creator>
  <cp:lastModifiedBy>Ciaran Cunningham</cp:lastModifiedBy>
  <cp:revision>1502</cp:revision>
  <cp:lastPrinted>2025-11-03T17:32:12Z</cp:lastPrinted>
  <dcterms:created xsi:type="dcterms:W3CDTF">2016-10-20T11:36:49Z</dcterms:created>
  <dcterms:modified xsi:type="dcterms:W3CDTF">2025-11-05T14:26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307B01B65ECD745BECD9F3346AAEEEE</vt:lpwstr>
  </property>
  <property fmtid="{D5CDD505-2E9C-101B-9397-08002B2CF9AE}" pid="3" name="MediaServiceImageTags">
    <vt:lpwstr/>
  </property>
</Properties>
</file>